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0"/>
  </p:notesMasterIdLst>
  <p:handoutMasterIdLst>
    <p:handoutMasterId r:id="rId21"/>
  </p:handoutMasterIdLst>
  <p:sldIdLst>
    <p:sldId id="2147308211" r:id="rId6"/>
    <p:sldId id="2147308245" r:id="rId7"/>
    <p:sldId id="273" r:id="rId8"/>
    <p:sldId id="2147308212" r:id="rId9"/>
    <p:sldId id="2147308236" r:id="rId10"/>
    <p:sldId id="2147308237" r:id="rId11"/>
    <p:sldId id="2147308238" r:id="rId12"/>
    <p:sldId id="2147308240" r:id="rId13"/>
    <p:sldId id="2147308239" r:id="rId14"/>
    <p:sldId id="2147308241" r:id="rId15"/>
    <p:sldId id="2147308242" r:id="rId16"/>
    <p:sldId id="2147308243" r:id="rId17"/>
    <p:sldId id="2147308244" r:id="rId18"/>
    <p:sldId id="2147308235" r:id="rId19"/>
  </p:sldIdLst>
  <p:sldSz cx="9144000" cy="5143500" type="screen16x9"/>
  <p:notesSz cx="6858000" cy="9144000"/>
  <p:defaultTextStyle>
    <a:defPPr>
      <a:defRPr lang="ru-R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 userDrawn="1">
          <p15:clr>
            <a:srgbClr val="A4A3A4"/>
          </p15:clr>
        </p15:guide>
        <p15:guide id="2" pos="28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mbaeva Maria (ABX)" initials="KM(" lastIdx="3" clrIdx="0">
    <p:extLst>
      <p:ext uri="{19B8F6BF-5375-455C-9EA6-DF929625EA0E}">
        <p15:presenceInfo xmlns:p15="http://schemas.microsoft.com/office/powerpoint/2012/main" userId="S-1-5-21-3582126039-3872653876-930631335-69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44B92B-8C8B-4ECA-A4DE-40988ADA2122}" v="37" dt="2022-11-28T10:52:26.6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246" y="84"/>
      </p:cViewPr>
      <p:guideLst>
        <p:guide orient="horz" pos="1643"/>
        <p:guide pos="28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160"/>
    </p:cViewPr>
  </p:sorterViewPr>
  <p:notesViewPr>
    <p:cSldViewPr snapToGrid="0" showGuides="1">
      <p:cViewPr varScale="1">
        <p:scale>
          <a:sx n="96" d="100"/>
          <a:sy n="96" d="100"/>
        </p:scale>
        <p:origin x="3078" y="9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84CEF96-1E95-EFB9-87E3-5C6555FE60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0A670B2-352C-B614-B1A1-C0B9C654E5E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44C477-B525-4A5B-A87C-1A8DF352D305}" type="datetimeFigureOut">
              <a:rPr lang="de-DE" smtClean="0"/>
              <a:t>15.06.2025</a:t>
            </a:fld>
            <a:endParaRPr lang="de-D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47E86DA-E359-1C4B-426F-E3EF9F10C5E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89FB94D-8016-1684-E896-D5F677A7DA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A1AEA6-C4BF-46F1-A5F0-D516E4437B4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026073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BAA90D-2318-4BEA-9EF3-35C25F990FC8}" type="datetimeFigureOut">
              <a:rPr lang="de-DE" smtClean="0"/>
              <a:t>15.06.2025</a:t>
            </a:fld>
            <a:endParaRPr lang="de-DE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8E5EC6-CA14-4420-926C-771F6372E7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84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" name="Google Shape;3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9" name="Google Shape;12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864240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7131201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3104428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87761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4" name="Google Shape;134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32150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9" name="Google Shape;12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79447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46504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11502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316468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569033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" name="Google Shape;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22513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2">
            <a:extLst>
              <a:ext uri="{FF2B5EF4-FFF2-40B4-BE49-F238E27FC236}">
                <a16:creationId xmlns:a16="http://schemas.microsoft.com/office/drawing/2014/main" id="{C4D386C9-C2D6-17F5-D74F-E48F8693FAF6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gradFill flip="none" rotWithShape="1">
            <a:gsLst>
              <a:gs pos="0">
                <a:srgbClr val="0596FF"/>
              </a:gs>
              <a:gs pos="100000">
                <a:srgbClr val="D4056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8CB7FC0-DBF4-5F02-424B-1BAD14B45D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968" r="10277" b="19969"/>
          <a:stretch/>
        </p:blipFill>
        <p:spPr>
          <a:xfrm>
            <a:off x="421496" y="0"/>
            <a:ext cx="8722503" cy="5162407"/>
          </a:xfrm>
          <a:prstGeom prst="rect">
            <a:avLst/>
          </a:prstGeom>
        </p:spPr>
      </p:pic>
      <p:sp>
        <p:nvSpPr>
          <p:cNvPr id="13" name="Овал 6">
            <a:extLst>
              <a:ext uri="{FF2B5EF4-FFF2-40B4-BE49-F238E27FC236}">
                <a16:creationId xmlns:a16="http://schemas.microsoft.com/office/drawing/2014/main" id="{54718808-044F-0695-0309-33FC2CD60436}"/>
              </a:ext>
            </a:extLst>
          </p:cNvPr>
          <p:cNvSpPr>
            <a:spLocks noChangeAspect="1"/>
          </p:cNvSpPr>
          <p:nvPr userDrawn="1"/>
        </p:nvSpPr>
        <p:spPr>
          <a:xfrm>
            <a:off x="2531254" y="-18907"/>
            <a:ext cx="5317147" cy="5162407"/>
          </a:xfrm>
          <a:prstGeom prst="ellipse">
            <a:avLst/>
          </a:prstGeom>
          <a:gradFill flip="none" rotWithShape="1">
            <a:gsLst>
              <a:gs pos="0">
                <a:srgbClr val="A375FF"/>
              </a:gs>
              <a:gs pos="70000">
                <a:srgbClr val="0596FF">
                  <a:alpha val="9000"/>
                </a:srgbClr>
              </a:gs>
              <a:gs pos="35000">
                <a:srgbClr val="A375FF"/>
              </a:gs>
              <a:gs pos="88000">
                <a:srgbClr val="0596FF">
                  <a:alpha val="0"/>
                </a:srgbClr>
              </a:gs>
              <a:gs pos="100000">
                <a:srgbClr val="0596FF">
                  <a:alpha val="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43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246213-D86D-C17D-45FC-590E5F7775EC}"/>
              </a:ext>
            </a:extLst>
          </p:cNvPr>
          <p:cNvSpPr txBox="1"/>
          <p:nvPr userDrawn="1"/>
        </p:nvSpPr>
        <p:spPr>
          <a:xfrm>
            <a:off x="2636189" y="3229339"/>
            <a:ext cx="491010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0" dirty="0">
                <a:solidFill>
                  <a:schemeClr val="bg1"/>
                </a:solidFill>
                <a:latin typeface="+mj-lt"/>
              </a:rPr>
              <a:t>Цифровое будущее начинается здесь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438" y="1547357"/>
            <a:ext cx="5424778" cy="145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116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5356406" cy="51444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70000"/>
                </a:schemeClr>
              </a:gs>
              <a:gs pos="94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ECDC3F1-5B46-78CF-C17C-10CA6615C1BC}"/>
              </a:ext>
            </a:extLst>
          </p:cNvPr>
          <p:cNvSpPr/>
          <p:nvPr userDrawn="1"/>
        </p:nvSpPr>
        <p:spPr>
          <a:xfrm>
            <a:off x="325119" y="60858"/>
            <a:ext cx="5021786" cy="5021786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13500000" algn="b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FD1FA5AE-E8E8-42FE-7870-02839726C7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Segoe UI" panose="020B0502040204020203" pitchFamily="34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2C05E89-A7BB-444E-87B3-4DD44465A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248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2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133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74B83B-A679-7D15-AAD6-C9AD16E5D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D918CC-1186-3482-F316-AE942A2EA2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146084" y="2033798"/>
            <a:ext cx="46807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380316C9-5F6C-6EF6-0B28-E70F3CE8EE3B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9E462C4D-EB17-A070-BABD-7DDAA85D8F4F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  <a:tileRect/>
            </a:gradFill>
          </p:grpSpPr>
          <p:sp>
            <p:nvSpPr>
              <p:cNvPr id="4" name="Овал 3">
                <a:extLst>
                  <a:ext uri="{FF2B5EF4-FFF2-40B4-BE49-F238E27FC236}">
                    <a16:creationId xmlns:a16="http://schemas.microsoft.com/office/drawing/2014/main" id="{C867FA05-8803-B878-F4A9-D2C68B1C0E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" name="Овал 4">
                <a:extLst>
                  <a:ext uri="{FF2B5EF4-FFF2-40B4-BE49-F238E27FC236}">
                    <a16:creationId xmlns:a16="http://schemas.microsoft.com/office/drawing/2014/main" id="{E2448D99-1509-D09B-B428-4BCFFD3139F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" name="Овал 5">
                <a:extLst>
                  <a:ext uri="{FF2B5EF4-FFF2-40B4-BE49-F238E27FC236}">
                    <a16:creationId xmlns:a16="http://schemas.microsoft.com/office/drawing/2014/main" id="{216D3FF2-9A01-008A-3016-F9CFBBCD67F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C9654C8D-FDA6-063B-3428-1726B55C906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7A525CBD-75D0-90CC-092B-BEAA42C8CFE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E31CF43B-70C3-6D74-0949-562C3AE03F5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2995DD48-0B4B-6B54-6012-3681D44871A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3B4206EF-2639-2064-59A7-DF3F59688B3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B7EFAB9F-1ABB-F7E9-F8AA-46BDAE4B9E6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48DCFCCE-77D3-74BF-DA53-8D7E76BD561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4E1122E4-0A3E-4482-A7EC-4581D6CF647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44AC7E5A-484C-D787-B3BF-661774436F7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A8A1919C-3B4F-202C-DB35-83B7629FF4D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64843FB7-D040-120C-5FF8-AB1C68347C0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8228CCB7-533E-A038-07D1-9FFA2742CE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AA90DBF9-56AC-6EA5-7827-1E76E5110E6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9000A2D9-1935-5E4E-FA7C-D56248C5A72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14E89866-5033-33C0-6D8D-73FCBB82056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4177BBCA-C4C8-EA23-7F80-BB24FB3B7D5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7B190921-4751-B733-ADE0-CC098D17772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D06CEDDC-1B68-D248-0A90-31008FB7739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2E9B20A9-B362-22A5-FD8B-88D7CD3E02C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E176B5D7-9395-C2FC-76CA-F20364A0BAB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3DBF2CCA-7D74-2457-2293-4CFAFBA6E1D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DA731455-990B-3F63-B9A9-D791828616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64511A1C-D3E7-7882-6A94-1EBB10471DF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9A46827E-D4B4-7B28-6D7A-03A168892CA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F449AB5C-AE34-8305-0EA2-DC6B8C9F585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BE8AC8B0-9938-D7B1-F942-9CD24CFB169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21C30AE4-C0E3-243A-A8D4-0E2D8A6B5C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639D33AC-803D-55CF-594D-81F71F21655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AC70DF20-4E61-C72C-B111-19EB77CD6D9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D3EA7A61-D72F-8DFB-4EBE-95DC79E1777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B5D1C321-7EE1-FEAD-3413-4F2359FB012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8FC7B81C-14DF-20E0-0836-DCD897C3DD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DA79A52F-687B-012A-CF8A-3F70C7F54DB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D3931C08-EF80-A926-37AB-AA4EFE1E33A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EA741273-59C0-053E-BCEA-3FF4B181EE2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41939210-113E-C636-F839-A2881C0F9BA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1F082C3A-AADA-DC15-06FE-C11FE977E27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F7B0A0D4-9FE7-F796-0565-DF1FC00DFC6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15679507-5AD1-A5AC-C628-A05E7A7377C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E6F80D81-B018-891E-A4F3-A1BC22BEE2B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12ABD676-27FF-E403-C512-0FE95D1F497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13EBFF04-6714-8D76-AD95-310A1F9B38E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A07661BF-DC69-EEF4-BF56-085BD47D112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E82BC916-1130-0F4C-1182-F21009B912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6B251F64-E98D-B9FE-609A-FBEC006C463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114D345E-9F19-9F1C-C824-342E9C8F0F5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805A4DE2-1E63-0A6F-E2C4-D7A19D82056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65D1371D-D29D-4809-E4C3-73E3A5CBE07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5EC58251-0F6E-67E9-08D1-3CA32B5E56D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8E0DB874-B7ED-ACC5-F9DF-CC5CC5327A6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63E4C4E2-E5AB-64A7-3819-CC874B29635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5DBF5A01-B951-4EDA-CDF3-20EF5FEE65B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F31034D5-BBBE-5134-A53B-1DD91989B463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pic>
        <p:nvPicPr>
          <p:cNvPr id="68" name="Рисунок 6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1251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EC0C781-0911-BAF2-0055-EA57D3D2DF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73ABC88-4444-7002-9E12-D6CD2D7A39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146084" y="2033798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2</a:t>
            </a:r>
            <a:r>
              <a:rPr lang="en-US" dirty="0"/>
              <a:t>.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7DD5911D-A5E5-8E63-9B65-39208DD007E6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149602A0-D84E-8F5D-E0EF-B03029A50BCA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  <a:tileRect/>
            </a:gradFill>
          </p:grpSpPr>
          <p:sp>
            <p:nvSpPr>
              <p:cNvPr id="6" name="Овал 5">
                <a:extLst>
                  <a:ext uri="{FF2B5EF4-FFF2-40B4-BE49-F238E27FC236}">
                    <a16:creationId xmlns:a16="http://schemas.microsoft.com/office/drawing/2014/main" id="{580E258B-B34B-9D5B-25A3-88609BC5B3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9" name="Овал 8">
                <a:extLst>
                  <a:ext uri="{FF2B5EF4-FFF2-40B4-BE49-F238E27FC236}">
                    <a16:creationId xmlns:a16="http://schemas.microsoft.com/office/drawing/2014/main" id="{41C6FB69-F303-8702-B8FE-8AFD934738E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81BC0AA2-B7D4-AC40-1BDE-0FE7B42BBA8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46D28C3C-F84A-6FF9-88DA-B584689F20A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2D74D174-A80A-A743-0975-FEF31551071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B87057F0-DCA3-1049-D8DD-8F391A019AC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7CCED2C7-997C-5844-F55A-A7E1C029E48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1C604CA3-2885-F681-9EF2-7F2DA30857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E929C5E8-8DAC-A64C-D3EB-DA9C7AE4394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19A989A4-FBFC-7FED-1360-1A3BB32ED07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4DCE3B84-3FA6-2991-43FF-76A3500AFA2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CFA68D91-F5F5-8F8A-378A-1D4B4AAF072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0E78803E-6138-C01C-97F7-F13DF56A444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BDCDD168-7D2A-E653-A441-100A0B07A47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0CD5F2CE-AF71-A219-09FD-4E3943829D7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A5E028C5-30CB-FAD3-7FA7-FE40424CE76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297898F4-94DB-9E55-016D-5A926CBBC94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B3128129-47EE-DE61-F57A-0E49EB20393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817DFFE3-01A1-1F19-FF43-0544A0F3E48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BA94C0FF-6804-CED4-29B0-84F91D1B684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03992FF2-1D5F-D5B4-91BF-3B3DD2EBD34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B75FFE14-19B4-6E4D-3D11-25000424216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82050B5E-0342-2FA9-3860-FBA929DD49A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F1F3ADF0-794A-9FDB-6474-94AD80CE244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C361031B-3A03-1208-7DD9-BABCCAC24B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5A9F1D33-160D-FAAD-2324-582A27DD3EA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982D6A8C-077B-4D6E-365D-D4EC9C07CD9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630ED24-C8D6-664C-7E96-D4B2A5456AB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6B0AA559-C23E-78E7-A00B-3D6D88E26C0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BC74C182-AB08-B48C-A11B-F50F501A191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700560E5-F8F5-5F98-6C34-7EF0D0839FF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2367A472-E184-E57C-9D4D-7DE2CEECB30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394EC72B-D1A8-3426-B217-1AD1064A555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6463FDA9-CFB3-E571-6C10-F1128E8B67B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2D3206F7-03D7-123E-37FD-713E843E076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DA453658-7AC0-20CE-E3CF-AF787816DBF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20EA863F-7F19-22AD-8D66-373B518184F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436C8391-41BB-E5A0-D1FE-8EFC1729EF5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F25FDE0F-ED07-42B7-6790-97AD204C831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0173D008-3852-450B-11C0-3F05E2BE8DB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888AB7C1-4FA1-94A3-9557-8E95E3CF205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963ABFF0-3C12-7B1C-7BA8-EBAAD2E9642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F3A411DF-BCF8-4194-1ECF-5DFBEFAC3FA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8011F2BF-941D-7E3C-CD96-10DA2830806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F98C1A4C-39E5-DEA7-19D6-44994743AEA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6696A4E8-2FFF-5AE1-8290-828D3D090AD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C1305AB2-B59E-677E-AAAA-61B428C5A5D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0921D098-93A2-22BE-3448-1F0E66A7B09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A33E196F-E405-8336-7E76-F64F4821E07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78DF3EA8-0BC8-50DD-820B-4E95C859CF2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6F776B69-7DED-6973-76D3-74CAC761CA6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F1CB3A69-865E-E949-03D9-FBE7DA96DC3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4A3478A9-833E-1648-A86A-A028593858F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D1AA2078-EA7E-2746-C6A1-3CC17E8F4FA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6" name="Овал 65">
                <a:extLst>
                  <a:ext uri="{FF2B5EF4-FFF2-40B4-BE49-F238E27FC236}">
                    <a16:creationId xmlns:a16="http://schemas.microsoft.com/office/drawing/2014/main" id="{4B46014D-6B77-FF99-4B21-A94A4E2DEE6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2A55676C-D95B-8AAE-2919-A40A0C1C2D2E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pic>
        <p:nvPicPr>
          <p:cNvPr id="70" name="Рисунок 6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454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A5AC7742-1831-46E5-22AE-C449F6A8660D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F3C194EC-7578-BF55-1DB2-3C9F805219CF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  <a:tileRect/>
            </a:gradFill>
          </p:grpSpPr>
          <p:sp>
            <p:nvSpPr>
              <p:cNvPr id="8" name="Овал 7">
                <a:extLst>
                  <a:ext uri="{FF2B5EF4-FFF2-40B4-BE49-F238E27FC236}">
                    <a16:creationId xmlns:a16="http://schemas.microsoft.com/office/drawing/2014/main" id="{0A2B32C8-E3AA-BA62-AFFB-32CF4E6F5ED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1" name="Овал 10">
                <a:extLst>
                  <a:ext uri="{FF2B5EF4-FFF2-40B4-BE49-F238E27FC236}">
                    <a16:creationId xmlns:a16="http://schemas.microsoft.com/office/drawing/2014/main" id="{FCDF35AE-BFDA-0C88-DCD9-E1B811C2690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4F84E05B-DDCE-7E59-9A12-F8E6F5FACBB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B201E50B-22B7-2EEF-6DEA-50B7E25A166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2414E1C5-5706-92E2-0F2B-9B77BE52823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ED45F2F4-3D99-B719-AEAC-653F6D71EDA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3EBB4DC8-4C1E-8366-1B11-14935A7F78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000A60AE-476F-F51B-8F21-55AC0CB9B7B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CFAA3999-A7D0-61F7-A07D-13509C16A90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15DFF5C3-993D-BC73-F8C4-44F928B2B4E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0EE479BA-4736-2616-F0C9-F7D8ED0AEAF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6B174043-EB38-1363-7A57-8F1B7C9AB99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682C5378-5D4A-4984-8EAC-27A44BBF116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99FAF688-1BCA-87BE-0D8E-A772819E40F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51091945-3B55-128B-F139-D3B788ACB82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DF82078E-7D49-6E99-0F85-F338AC22267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00317CBE-18E0-2290-C15C-1056954815D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C9AEAA03-9D78-12E8-1B82-42478BF360B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E8C7CB64-7D15-0D6F-03D0-15444FA5E62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8DF43A71-EC86-BA80-1745-7F3280AD0FF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400EAF3B-1AE0-4A50-519F-1C95392D0E1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697654D4-9634-D816-811A-F63720F0AE1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818E87DD-64F8-428D-EEC9-ECAF599D555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723DE309-685E-56EA-FCD6-7D9AC7EC7DE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EAB39D81-2C9F-3C2F-DC49-3504758563B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40582FBA-21BC-6A84-3BFA-EFFD2C4DF15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FD3E4231-75BC-2FEE-EE01-C5FD3F05E34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1837E972-C474-1355-365D-CD52002F1C0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E41A6FEF-4098-D13E-C987-AC91617D3EA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067B836D-BDB6-9CB2-56EF-94477783A9E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127032B0-6D06-C194-AF2B-962A83F46EC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B3549122-8CC6-3CD2-6100-E90F1D1A760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FAE35F70-27FB-4D6A-4713-4FE91436A6C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77E6259D-E257-62EA-9DC2-CBFB122E287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27C59238-C08C-2DAD-5FC6-66F7E95E260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D66E29DF-EC80-36F1-8A09-0AAF9C11CAE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95CE0BDF-3BE9-29AA-8C57-8F34CC2F198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2BD2D8D1-B271-D077-3377-79A49A65AFD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9F240841-58D1-45B8-5E49-9403CB42864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D05C6582-76CD-1FCF-F85D-6A419FF3AAC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C10649B2-EEBA-769D-F63D-F8FF4A953A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9190CB92-FFAF-AC1C-9811-FEB6591D3C2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2BA57AC2-7A35-9706-C2F0-E5F0B0C223A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1CE8576E-30D2-D330-5A4F-F9DD7853071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9DDE1D2C-EE20-2E6A-0241-C50A8D3D3BE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EC0B7765-2E5A-C005-5A2A-C4947E1139E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715BCE9F-7403-6410-FDC3-E128F301088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659C6008-E99E-2C51-D7BD-1A9DF322991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4246376A-A1A3-0E70-E3F7-EB18C022E5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3EC0DC18-386F-EFAA-0604-DEB37C02283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EFE18AF4-F4F7-C270-1077-47433E1BB93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1437D5B9-1F33-4E15-65FB-C2E8790A4BE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D115B1DA-D7D3-E87F-1BF9-ECCCBBDFA64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28A8FA91-D6A3-6FF6-C3F1-0074F999E78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C39F65E1-8B9E-9A47-3A36-D4BFD3B3514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7DE018DA-DCF4-5CC7-6235-5449378AED33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124" name="Text Placeholder 6">
            <a:extLst>
              <a:ext uri="{FF2B5EF4-FFF2-40B4-BE49-F238E27FC236}">
                <a16:creationId xmlns:a16="http://schemas.microsoft.com/office/drawing/2014/main" id="{A62F0846-CF7B-BD04-8C7F-E068DEA925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125" name="Text Placeholder 6">
            <a:extLst>
              <a:ext uri="{FF2B5EF4-FFF2-40B4-BE49-F238E27FC236}">
                <a16:creationId xmlns:a16="http://schemas.microsoft.com/office/drawing/2014/main" id="{8909731F-6521-6D6B-886D-A772436540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146084" y="2033798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3</a:t>
            </a:r>
            <a:r>
              <a:rPr lang="en-US" dirty="0"/>
              <a:t>.</a:t>
            </a:r>
          </a:p>
        </p:txBody>
      </p:sp>
      <p:pic>
        <p:nvPicPr>
          <p:cNvPr id="67" name="Рисунок 6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686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3C5657FB-973F-686C-923D-D11DC180E4DF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AE80DC77-BCDF-A283-3523-0E7FFD6314E4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5400000" scaled="1"/>
              <a:tileRect/>
            </a:gradFill>
          </p:grpSpPr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23B3EA2E-DF5F-AC0D-9852-F818B81B81B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542856C2-5AD7-452F-3F02-3B350E9143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AD6C9C87-2471-D330-F895-45F45B3EF1E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DC335266-ED8A-F4BB-5CF8-071DA7F5D91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BE88519D-387D-CF45-7EEF-3B79B673377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36BEBB12-3210-87F9-9E99-E11D576D498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8744178E-DB2C-51E6-9C72-3B4D58C1A9E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328E0B32-B4F9-109D-0F0A-005C633AFD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AB933941-2EA9-1B61-1CAF-8D46B0776F8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2AAE497C-781A-477B-D5C7-2F581E5FF46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F1C36C9E-0A70-FC37-2476-1C753DE253A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8FFE4C22-C134-A221-3A41-EBC36BD5874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797A1E43-B625-22E7-6068-17CF8A50B98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C545E9FB-F16A-4737-6136-9EF5543E34E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2A9813C9-DCA8-19EA-A65A-A38CBB3C156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BE78D82B-5163-AC26-FCA2-6EA45FCEF93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C911226D-518A-9CEF-9E2D-C75480FC9F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9FF0F1DF-7C9A-54BE-6492-4E54268971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AE3798D6-5225-3F4D-FF19-DB861110D3C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9AACCE60-F1C7-A389-AD3E-3B060D416B9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4EC0D995-11BE-BFAA-D08E-83B1482DDA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4DA8421A-62AE-CD31-B8E1-3EE8F460AFA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4CB27B07-4239-97EB-C56E-C35001756D2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395E9637-A069-7824-57FE-FEE7882C59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056BA637-A82C-1D79-E9FD-B3DC05274E1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A675203D-B967-9FCC-015C-C9BA106FF60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FAA987DE-7028-5EE8-FD7A-5CCAA809DF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133995FB-AD78-2127-1BD5-E56DF603CBE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60D73DCB-9008-FC53-B484-8E99F774B9F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91C98BE0-2B55-6109-77FC-8F9471B72CF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BBC8A1A3-56CB-9458-B375-4D77782394B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E0BF3F0B-01B1-1093-3E84-603EE3CEFAE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A6243599-9BF3-5201-0DF8-070A11A1B37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51C29F87-5D69-65C9-D92F-347568AB6C8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6B3C2999-7F79-4BCE-CA59-4EC301C0C25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412C66B7-4076-C0A1-55FA-AD2F3520787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9BEC3B7A-1B6D-5A15-1BD4-0892E1E7B2A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590A1B31-4FB6-FCA1-1F3E-1D28BB2A161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9B24F8B7-A2FA-4B81-71D6-2A23F2799C2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1033E736-4C01-2EC4-6F5C-9F7C671BE80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A864B468-E806-8916-17CE-D46C1A3D49F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A7682A03-D895-C95D-C962-0FA1AB8163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8FBD0E52-B6BE-5A7C-793A-7EC6F0A2F08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5373C4FD-698A-0833-2660-C4B2CF27433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2A5C570D-D285-5E5D-ED0F-DDDB6275D66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40481A8E-A6C1-883F-3A1A-E7D52FC78A5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A19AB059-504C-0DBD-34D4-5B09455D3D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8AA1ABE6-C663-A1BD-CE94-D45B50BFF36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D2E8DDA5-3FDC-AFD5-E4B0-1FE369F08B2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2074EA97-E1CC-0A2E-A8F7-036FFCEB3AA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71767EFB-CCA5-ED82-21F4-8F4F2C74DE2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471BBB49-4762-AD67-63A0-93C3EBD644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66AB65D8-EC92-AB97-1CA4-487CE56513F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21453FA3-B565-D840-D51E-ABB5E6C8A3A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6" name="Овал 65">
                <a:extLst>
                  <a:ext uri="{FF2B5EF4-FFF2-40B4-BE49-F238E27FC236}">
                    <a16:creationId xmlns:a16="http://schemas.microsoft.com/office/drawing/2014/main" id="{7E39C65B-577C-96B7-8719-82C944F9D15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ACA41783-6F0B-41A1-93F5-48CB5C430DEC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361DC810-7B91-D828-33A8-EB1EA9C011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E01A81BC-722A-44DB-A3C6-EDBA747490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146084" y="2033798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  <a:r>
              <a:rPr lang="en-US" dirty="0"/>
              <a:t>.</a:t>
            </a:r>
          </a:p>
        </p:txBody>
      </p:sp>
      <p:pic>
        <p:nvPicPr>
          <p:cNvPr id="71" name="Рисунок 7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08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539065DA-61CB-90F0-AB7E-FF72AE1314A3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C865E62F-9343-0466-8794-F400DA6C387B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5400000" scaled="1"/>
              <a:tileRect/>
            </a:gradFill>
          </p:grpSpPr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C6400F3A-CD36-FCEA-22D2-694F8C548BB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5B30FB9F-C403-CA8E-432E-0AA753CCEC9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56901D1F-3286-26B8-CAF0-50EAC0E2C2E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9704F479-80F1-39E1-54FE-2EB5C97F8BB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35F14BAB-58F2-57EB-AAD7-014E2660A82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C0CD507E-CBCF-C0D5-2486-0B60F5DCAFC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C35998CE-A6A3-6294-C1AE-18430ED2EF6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4B5A31E7-CFEC-EC76-29CA-68C4E88260C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016196E3-E771-DD15-4538-DE032E5A6F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92AD6217-F0C9-119D-B459-8CB7F3AE46B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4FF63ADC-84D7-432E-B857-EC284DC885F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F9C663AB-DD05-E18B-7F7E-1DD1A278924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A19F07D4-B28E-C550-0869-467C5EA2432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945BEC3B-06E1-A188-5F09-456E09EFD59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7FACA775-6ACD-FDC6-484B-31CEA3794C3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D0965D5A-1988-29E5-5EBA-E3D769C40E7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BA745819-BA3D-1B25-20D0-0AA86CF7915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2B804532-18FC-DF7C-C99E-858141409EB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BE69456B-53DF-66C2-A524-021B892FF65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25D0B038-4586-A7AF-F27E-A0FB1A1A9D3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35E9F0D6-55FA-2BE8-C500-4277385DD2A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BDC5F957-DD11-F216-1AB5-301C2455D5E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DB526015-D332-344D-6663-01F00BEB0BD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E51EC1F6-FD89-5D38-1801-A83A6D97271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0D5D1A8D-2FCD-D681-6290-EC7EE46D10C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ED8FBFCE-ABFC-ACE8-C9B8-3D85EC876CD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742C8C23-A9E6-7D09-0817-B2479619485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C8CF4562-3B41-8152-9008-A018EC8B30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A4825CE8-CA20-1501-1AD2-584E62A65C7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57F8F13C-C71E-30EE-C57D-FC4C6F79AD8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D56F8921-6266-7A2C-55F0-84C7AC838F8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6F68B945-4E7A-E5CF-15CB-2FE9865C8B2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857C437B-EF1F-3E76-52B2-E1545ED7EAA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4D2D838A-E82A-5E68-3519-D229976108E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D9E35054-3B36-D112-BB1B-0D074EDB17F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955DFD1A-98FA-4CE3-B781-3C689CDE99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9C134BC5-97FB-D2E4-CE9F-F1E2E10C43F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D5AF7C58-523D-7606-68E6-A5594851B2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69E27EAD-B281-40F2-9761-517C6808B8E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5A8D2096-7ABC-58A4-D3ED-862377FDFFA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C055E9FE-EA87-FF3E-8F3E-618E1029CCD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47B5A80D-0728-59FE-42B7-46F95124A86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6E1F9239-793A-B35F-6965-303FB311D7C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8B2FABAC-8C77-9AD1-08EA-D715DA34F95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6BDF1988-69BA-40F5-51AD-EF81DFE1F2A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BABDE5D1-E8A1-8203-0891-463940E128C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7FD367D2-C73B-0DA0-6EA3-6A0CD1B3BF4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DF6BBF9A-8FC3-D539-51CC-1D4CBC45F2E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3FD43C41-8715-C98A-DD60-9610E8BAED3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838CF1D9-7384-4435-A2B6-766BBDFF234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0BE843B3-1F82-6414-E5FA-7641614F4B8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AFFAF05C-012D-7901-108C-A0B0F07F71F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CE481C3B-23DF-AA78-C452-76F1F8390D3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2EA3F842-A104-6EFF-BEFE-697DF969B83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E4543ACC-8627-020E-A774-8B0543D51CE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C1D2C647-DCCA-CABA-BAA5-6EC10DC301DF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EC34ED6B-8985-2D37-DED6-0BE584D0271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6C9CF6EE-1D85-0390-5B60-52161D7156A7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invGray">
          <a:xfrm>
            <a:off x="3146084" y="2033798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5</a:t>
            </a:r>
            <a:r>
              <a:rPr lang="en-US" dirty="0"/>
              <a:t>.</a:t>
            </a:r>
          </a:p>
        </p:txBody>
      </p:sp>
      <p:pic>
        <p:nvPicPr>
          <p:cNvPr id="70" name="Рисунок 6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079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EEA7032C-FDD8-11A8-0C3A-151D10DC0B8D}"/>
              </a:ext>
            </a:extLst>
          </p:cNvPr>
          <p:cNvGrpSpPr/>
          <p:nvPr userDrawn="1"/>
        </p:nvGrpSpPr>
        <p:grpSpPr>
          <a:xfrm>
            <a:off x="1" y="0"/>
            <a:ext cx="2686049" cy="5143500"/>
            <a:chOff x="0" y="0"/>
            <a:chExt cx="2686049" cy="5143500"/>
          </a:xfrm>
        </p:grpSpPr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C01FBBC5-A9C0-C5AC-B128-80B25AD988B1}"/>
                </a:ext>
              </a:extLst>
            </p:cNvPr>
            <p:cNvGrpSpPr/>
            <p:nvPr userDrawn="1"/>
          </p:nvGrpSpPr>
          <p:grpSpPr>
            <a:xfrm>
              <a:off x="63915" y="68262"/>
              <a:ext cx="2450921" cy="5006968"/>
              <a:chOff x="63915" y="45643"/>
              <a:chExt cx="2450921" cy="5006968"/>
            </a:xfr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5400000" scaled="1"/>
              <a:tileRect/>
            </a:gradFill>
          </p:grpSpPr>
          <p:sp>
            <p:nvSpPr>
              <p:cNvPr id="11" name="Овал 10">
                <a:extLst>
                  <a:ext uri="{FF2B5EF4-FFF2-40B4-BE49-F238E27FC236}">
                    <a16:creationId xmlns:a16="http://schemas.microsoft.com/office/drawing/2014/main" id="{21AF2E24-3178-9DFE-B9EE-7623CBAA423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4756134E-75EE-7EBE-76F8-2553FAA3809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8617CB63-C122-2754-59DF-68360390145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2E92F635-C15D-6F7A-E250-22B8DB82302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244C3770-23DD-1276-705A-47B1CEA4C85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5643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4EB2C30B-077B-CC00-2F47-F637BC2509A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909FF52D-F455-4328-6206-4FCC78626EB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E9D76C67-745B-02D5-45D3-735EECE6124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3700548C-7ED1-FBF4-533A-C694062A3B4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44175399-5305-D69F-933D-279D48A778B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506740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12DC493E-CD81-35EE-E9A9-E43013457F6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7B292AF6-D064-60DF-6502-1B0AF90D6BB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184212FD-2588-8931-B8C9-E1FD4853502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52371EE2-6388-2455-528E-19F7BD26CF4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DD2DE9C5-EFF7-69EB-BE2A-7A319BFA0FB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967837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EBFE4E1E-5532-B685-79CB-879C2903EF4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6E588C77-9B54-561B-26D1-B6713D2EE6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D112C951-B451-20BA-3DDC-633140C48BF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856B8A07-39E0-10AF-2638-36001FEE07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3C853D25-E72A-B461-BB42-66885524351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428934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350F4E2D-5D8B-537F-8A67-22F363B33ED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67E85393-E016-6961-1A6D-D1F91A0A0E2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2ED8C799-AB66-F107-4DB9-7232ECE1058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D70D6E50-BF26-D4D8-8577-12C25CBC410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0372DCB8-4546-5F3F-9AB5-96F8272455F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189003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F17C2738-5D7B-131A-801A-809E0BDD496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E45654DD-B7F1-0F1C-779A-AB5D75E476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29DC658-3C7D-1E00-5FED-79E9ADCC8FA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BC31037E-4956-3761-E345-16056A06EAF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F26B2FE0-A32E-3AF8-2789-E248F1B3EF9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351128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40B60B79-C77C-6DB2-E96F-4BAFE84F0BA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40806443-B4CF-9FF4-A621-145A5D928F8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F8750608-C718-3756-C9EC-1F6EDC8845F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47A090BD-D28E-7708-EA4D-9137536A4E8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3DE68C70-F6C8-42A9-5A1C-12232B42018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2812225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78C6734F-E9EF-99BF-C18C-E196D16ADFF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5E72640B-1DD6-80E1-58D1-4691319677B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41BADC55-38DD-E92C-0763-E854977B6DC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DFAD85BF-F3D1-7DA1-E4D7-5705200CFE2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50E5D7DB-FD35-110A-07E0-E688E456415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273322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874DA3F8-1545-15C0-C83C-B0610B78248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FABAE617-1E58-9C27-051F-F189FB7F824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F7099B7B-5A7C-5598-EECD-AE03FB41EF5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B578CD29-04C8-C694-8C3C-F1B022C8C7A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DF3E45F3-DA1F-FD62-37E1-00B2E76CC8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3734419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7409F6F7-7C57-1525-B8C0-8F040436C4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188C6748-0C69-FF48-7B23-6ED7127F93A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3CEC3566-4251-E14E-F5EF-B3BA92CF71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8CF71F70-AC11-412A-0826-1A3CFB95165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9244509C-6D71-C424-CA09-2FCDD99211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195516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914CD9CA-594B-AFA6-9B4A-C1330A48BF3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391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8CEC2C1B-56E3-9A1B-E87D-E1A61EEB18F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764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768C1BAA-46CC-52E4-EC1C-B26241E89C0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9137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63EDC32E-88B2-AEE1-9B42-C113B2F41DB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118836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6" name="Овал 65">
                <a:extLst>
                  <a:ext uri="{FF2B5EF4-FFF2-40B4-BE49-F238E27FC236}">
                    <a16:creationId xmlns:a16="http://schemas.microsoft.com/office/drawing/2014/main" id="{7F43D14C-224E-2970-19AB-59EFAFFFE87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05105" y="4656611"/>
                <a:ext cx="396000" cy="396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6418154-A3EA-47F9-C007-FEC563FE9ED7}"/>
                </a:ext>
              </a:extLst>
            </p:cNvPr>
            <p:cNvSpPr/>
            <p:nvPr userDrawn="1"/>
          </p:nvSpPr>
          <p:spPr>
            <a:xfrm>
              <a:off x="0" y="0"/>
              <a:ext cx="2686049" cy="5143500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91A496D6-500C-81A5-6576-F9439F03A9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3810000" y="2033798"/>
            <a:ext cx="5003800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43FE15E5-D853-FD1E-730E-E442BA13E5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146084" y="2033798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6</a:t>
            </a:r>
            <a:r>
              <a:rPr lang="en-US" dirty="0"/>
              <a:t>.</a:t>
            </a:r>
          </a:p>
        </p:txBody>
      </p:sp>
      <p:pic>
        <p:nvPicPr>
          <p:cNvPr id="71" name="Рисунок 7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190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8DBC6C6-1583-5A8C-F4AA-B928B1FAFB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807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  <a:r>
              <a:rPr lang="en-US" dirty="0"/>
              <a:t>.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52452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2</a:t>
            </a:r>
            <a:r>
              <a:rPr lang="en-US" dirty="0"/>
              <a:t>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66F0989-6BEA-F496-9BB6-1D27AFE45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6227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3</a:t>
            </a:r>
            <a:r>
              <a:rPr lang="en-US" dirty="0"/>
              <a:t>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1DB042-2DDA-E912-2B72-CE228E8049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5262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6800D9E-038C-53C5-47C0-B293F43B8397}"/>
              </a:ext>
            </a:extLst>
          </p:cNvPr>
          <p:cNvGrpSpPr/>
          <p:nvPr userDrawn="1"/>
        </p:nvGrpSpPr>
        <p:grpSpPr>
          <a:xfrm>
            <a:off x="7048017" y="3340544"/>
            <a:ext cx="2095984" cy="1802956"/>
            <a:chOff x="7048017" y="3348565"/>
            <a:chExt cx="2095984" cy="1802956"/>
          </a:xfrm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AA1966EB-A83D-5E72-F6EF-0E4354D93D23}"/>
                </a:ext>
              </a:extLst>
            </p:cNvPr>
            <p:cNvSpPr/>
            <p:nvPr userDrawn="1"/>
          </p:nvSpPr>
          <p:spPr>
            <a:xfrm>
              <a:off x="7396284" y="3348565"/>
              <a:ext cx="1747717" cy="1802956"/>
            </a:xfrm>
            <a:custGeom>
              <a:avLst/>
              <a:gdLst>
                <a:gd name="connsiteX0" fmla="*/ 1155097 w 1747717"/>
                <a:gd name="connsiteY0" fmla="*/ 0 h 1802956"/>
                <a:gd name="connsiteX1" fmla="*/ 1705685 w 1747717"/>
                <a:gd name="connsiteY1" fmla="*/ 139414 h 1802956"/>
                <a:gd name="connsiteX2" fmla="*/ 1747717 w 1747717"/>
                <a:gd name="connsiteY2" fmla="*/ 164949 h 1802956"/>
                <a:gd name="connsiteX3" fmla="*/ 1747717 w 1747717"/>
                <a:gd name="connsiteY3" fmla="*/ 1802956 h 1802956"/>
                <a:gd name="connsiteX4" fmla="*/ 198793 w 1747717"/>
                <a:gd name="connsiteY4" fmla="*/ 1802956 h 1802956"/>
                <a:gd name="connsiteX5" fmla="*/ 197273 w 1747717"/>
                <a:gd name="connsiteY5" fmla="*/ 1800923 h 1802956"/>
                <a:gd name="connsiteX6" fmla="*/ 0 w 1747717"/>
                <a:gd name="connsiteY6" fmla="*/ 1155097 h 1802956"/>
                <a:gd name="connsiteX7" fmla="*/ 1155097 w 1747717"/>
                <a:gd name="connsiteY7" fmla="*/ 0 h 18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7717" h="1802956">
                  <a:moveTo>
                    <a:pt x="1155097" y="0"/>
                  </a:moveTo>
                  <a:cubicBezTo>
                    <a:pt x="1354454" y="0"/>
                    <a:pt x="1542015" y="50504"/>
                    <a:pt x="1705685" y="139414"/>
                  </a:cubicBezTo>
                  <a:lnTo>
                    <a:pt x="1747717" y="164949"/>
                  </a:lnTo>
                  <a:lnTo>
                    <a:pt x="1747717" y="1802956"/>
                  </a:lnTo>
                  <a:lnTo>
                    <a:pt x="198793" y="1802956"/>
                  </a:lnTo>
                  <a:lnTo>
                    <a:pt x="197273" y="1800923"/>
                  </a:lnTo>
                  <a:cubicBezTo>
                    <a:pt x="72725" y="1616568"/>
                    <a:pt x="0" y="1394325"/>
                    <a:pt x="0" y="1155097"/>
                  </a:cubicBezTo>
                  <a:cubicBezTo>
                    <a:pt x="0" y="517155"/>
                    <a:pt x="517155" y="0"/>
                    <a:pt x="115509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alpha val="48000"/>
                  </a:schemeClr>
                </a:gs>
                <a:gs pos="100000">
                  <a:schemeClr val="accent2">
                    <a:alpha val="56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D1CC820F-F58C-B8F1-488C-E8A9AB96E321}"/>
                </a:ext>
              </a:extLst>
            </p:cNvPr>
            <p:cNvSpPr/>
            <p:nvPr userDrawn="1"/>
          </p:nvSpPr>
          <p:spPr>
            <a:xfrm>
              <a:off x="7048017" y="4877278"/>
              <a:ext cx="1026268" cy="274243"/>
            </a:xfrm>
            <a:custGeom>
              <a:avLst/>
              <a:gdLst>
                <a:gd name="connsiteX0" fmla="*/ 513134 w 1026268"/>
                <a:gd name="connsiteY0" fmla="*/ 0 h 274243"/>
                <a:gd name="connsiteX1" fmla="*/ 1025191 w 1026268"/>
                <a:gd name="connsiteY1" fmla="*/ 272259 h 274243"/>
                <a:gd name="connsiteX2" fmla="*/ 1026268 w 1026268"/>
                <a:gd name="connsiteY2" fmla="*/ 274243 h 274243"/>
                <a:gd name="connsiteX3" fmla="*/ 0 w 1026268"/>
                <a:gd name="connsiteY3" fmla="*/ 274243 h 274243"/>
                <a:gd name="connsiteX4" fmla="*/ 1077 w 1026268"/>
                <a:gd name="connsiteY4" fmla="*/ 272259 h 274243"/>
                <a:gd name="connsiteX5" fmla="*/ 513134 w 1026268"/>
                <a:gd name="connsiteY5" fmla="*/ 0 h 27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6268" h="274243">
                  <a:moveTo>
                    <a:pt x="513134" y="0"/>
                  </a:moveTo>
                  <a:cubicBezTo>
                    <a:pt x="726289" y="0"/>
                    <a:pt x="914219" y="107998"/>
                    <a:pt x="1025191" y="272259"/>
                  </a:cubicBezTo>
                  <a:lnTo>
                    <a:pt x="1026268" y="274243"/>
                  </a:lnTo>
                  <a:lnTo>
                    <a:pt x="0" y="274243"/>
                  </a:lnTo>
                  <a:lnTo>
                    <a:pt x="1077" y="272259"/>
                  </a:lnTo>
                  <a:cubicBezTo>
                    <a:pt x="112050" y="107998"/>
                    <a:pt x="299980" y="0"/>
                    <a:pt x="513134" y="0"/>
                  </a:cubicBez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Полилиния: фигура 29">
            <a:extLst>
              <a:ext uri="{FF2B5EF4-FFF2-40B4-BE49-F238E27FC236}">
                <a16:creationId xmlns:a16="http://schemas.microsoft.com/office/drawing/2014/main" id="{E58C4314-39B5-E69E-B85D-79F50F925786}"/>
              </a:ext>
            </a:extLst>
          </p:cNvPr>
          <p:cNvSpPr/>
          <p:nvPr userDrawn="1"/>
        </p:nvSpPr>
        <p:spPr>
          <a:xfrm>
            <a:off x="1753908" y="5156200"/>
            <a:ext cx="262" cy="2598"/>
          </a:xfrm>
          <a:custGeom>
            <a:avLst/>
            <a:gdLst>
              <a:gd name="connsiteX0" fmla="*/ 0 w 262"/>
              <a:gd name="connsiteY0" fmla="*/ 0 h 2598"/>
              <a:gd name="connsiteX1" fmla="*/ 262 w 262"/>
              <a:gd name="connsiteY1" fmla="*/ 0 h 2598"/>
              <a:gd name="connsiteX2" fmla="*/ 262 w 262"/>
              <a:gd name="connsiteY2" fmla="*/ 2598 h 2598"/>
              <a:gd name="connsiteX3" fmla="*/ 0 w 262"/>
              <a:gd name="connsiteY3" fmla="*/ 0 h 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" h="2598">
                <a:moveTo>
                  <a:pt x="0" y="0"/>
                </a:moveTo>
                <a:lnTo>
                  <a:pt x="262" y="0"/>
                </a:lnTo>
                <a:lnTo>
                  <a:pt x="262" y="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800" dirty="0"/>
              <a:t> 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D88FDA59-9983-A9AB-9C17-31753CD39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Raleway Medium" pitchFamily="2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D1A981F-F87B-312D-FC75-22F3D9ADBA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2" y="1507762"/>
            <a:ext cx="4680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rgbClr val="0596FF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9486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  <a:r>
              <a:rPr lang="en-US" dirty="0"/>
              <a:t>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73E178-13FE-D44A-FF75-D59D21E755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6066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5</a:t>
            </a:r>
            <a:r>
              <a:rPr lang="en-US" dirty="0"/>
              <a:t>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1170AA8-0AEB-AAB8-417B-73CCA62A09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4799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EC13261-8C43-DB88-50C2-F4838B054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654521" y="1863677"/>
            <a:ext cx="466474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6</a:t>
            </a:r>
            <a:r>
              <a:rPr lang="en-US" dirty="0"/>
              <a:t>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AC1BED4-EC98-3154-2EBB-39ED441CE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318438" y="1863677"/>
            <a:ext cx="7495363" cy="1075906"/>
          </a:xfrm>
        </p:spPr>
        <p:txBody>
          <a:bodyPr lIns="0" tIns="0" rIns="0" bIns="0"/>
          <a:lstStyle>
            <a:lvl1pPr marL="0" indent="0">
              <a:buNone/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505639" y="-9632"/>
            <a:ext cx="1591194" cy="665335"/>
            <a:chOff x="7505639" y="-9632"/>
            <a:chExt cx="1591194" cy="66533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075FE53-2BB2-4223-0F05-179D401D6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54903"/>
            <a:stretch/>
          </p:blipFill>
          <p:spPr>
            <a:xfrm>
              <a:off x="7505639" y="-9632"/>
              <a:ext cx="1591194" cy="66533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B6B665B-B7C2-E123-260C-6C8C3A753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9109"/>
            <a:stretch/>
          </p:blipFill>
          <p:spPr>
            <a:xfrm>
              <a:off x="7802484" y="99612"/>
              <a:ext cx="997504" cy="30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64978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58500-CE5F-4F59-96C2-296CFAC09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8"/>
            <a:ext cx="7300190" cy="567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42F813-D13D-4898-A2BE-1B872D7D58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082387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47FEC1B-68F0-49E3-8BE9-A03AAC0A62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990599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549CB22-2806-43E4-9527-5624BCB6EC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990599" y="3028951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9F854CC-480E-4C43-A264-6534CA2A65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5421453" y="1082387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4CAF380-1CE0-47D8-BF63-BD2BE8A6E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5421453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F07D1BF-42AE-4960-AA19-EA8FF7BF0D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5421453" y="3028951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83F0B5-8532-42AC-9FDE-DA41889D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082387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06973D8-023E-4304-AF2C-5E14B5E74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326682" y="2055669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A27ABC0-C61F-4F54-B518-CCA6BBA22B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326682" y="3028951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F03094F-42FA-42F4-8825-CFEF822E27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invGray">
          <a:xfrm>
            <a:off x="4779180" y="1082387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FBF07A3-F7C2-4BCF-827D-B6CB2A3362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invGray">
          <a:xfrm>
            <a:off x="4779180" y="2055669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AE22612-FC9E-4469-8E99-65F225DCC9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779180" y="3028951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B495C9F-7991-28B6-7163-9E8A9A9866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68522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58500-CE5F-4F59-96C2-296CFAC09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8"/>
            <a:ext cx="7163739" cy="567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42F813-D13D-4898-A2BE-1B872D7D58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082387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47FEC1B-68F0-49E3-8BE9-A03AAC0A62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990599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549CB22-2806-43E4-9527-5624BCB6EC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990599" y="3028951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9F854CC-480E-4C43-A264-6534CA2A65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5421453" y="1082387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4CAF380-1CE0-47D8-BF63-BD2BE8A6E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5421453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F07D1BF-42AE-4960-AA19-EA8FF7BF0D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5421453" y="3028951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83F0B5-8532-42AC-9FDE-DA41889D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082387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06973D8-023E-4304-AF2C-5E14B5E74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326682" y="2055669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A27ABC0-C61F-4F54-B518-CCA6BBA22B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326682" y="3028951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F03094F-42FA-42F4-8825-CFEF822E27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invGray">
          <a:xfrm>
            <a:off x="4779180" y="1082387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FBF07A3-F7C2-4BCF-827D-B6CB2A3362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invGray">
          <a:xfrm>
            <a:off x="4779180" y="2055669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AE22612-FC9E-4469-8E99-65F225DCC9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779180" y="3028951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1307E8C-DAB4-EBEB-8787-21CDE28EDF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7505639" y="-9632"/>
            <a:ext cx="1638361" cy="700110"/>
            <a:chOff x="7505639" y="-9632"/>
            <a:chExt cx="1638361" cy="70011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D67E1F2-250B-B6FC-426C-FB8662B17677}"/>
                </a:ext>
              </a:extLst>
            </p:cNvPr>
            <p:cNvSpPr/>
            <p:nvPr userDrawn="1"/>
          </p:nvSpPr>
          <p:spPr>
            <a:xfrm>
              <a:off x="7549116" y="0"/>
              <a:ext cx="1594884" cy="69047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grpSp>
          <p:nvGrpSpPr>
            <p:cNvPr id="24" name="Группа 23"/>
            <p:cNvGrpSpPr/>
            <p:nvPr userDrawn="1"/>
          </p:nvGrpSpPr>
          <p:grpSpPr>
            <a:xfrm>
              <a:off x="7505639" y="-9632"/>
              <a:ext cx="1591194" cy="665335"/>
              <a:chOff x="7505639" y="-9632"/>
              <a:chExt cx="1591194" cy="665335"/>
            </a:xfrm>
          </p:grpSpPr>
          <p:pic>
            <p:nvPicPr>
              <p:cNvPr id="25" name="Picture 6">
                <a:extLst>
                  <a:ext uri="{FF2B5EF4-FFF2-40B4-BE49-F238E27FC236}">
                    <a16:creationId xmlns:a16="http://schemas.microsoft.com/office/drawing/2014/main" id="{5075FE53-2BB2-4223-0F05-179D401D673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t="54903"/>
              <a:stretch/>
            </p:blipFill>
            <p:spPr>
              <a:xfrm>
                <a:off x="7505639" y="-9632"/>
                <a:ext cx="1591194" cy="665335"/>
              </a:xfrm>
              <a:prstGeom prst="rect">
                <a:avLst/>
              </a:prstGeom>
            </p:spPr>
          </p:pic>
          <p:pic>
            <p:nvPicPr>
              <p:cNvPr id="26" name="Graphic 7">
                <a:extLst>
                  <a:ext uri="{FF2B5EF4-FFF2-40B4-BE49-F238E27FC236}">
                    <a16:creationId xmlns:a16="http://schemas.microsoft.com/office/drawing/2014/main" id="{CB6B665B-B7C2-E123-260C-6C8C3A75373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 b="29109"/>
              <a:stretch/>
            </p:blipFill>
            <p:spPr>
              <a:xfrm>
                <a:off x="7802484" y="99612"/>
                <a:ext cx="997504" cy="30173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61189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61421EEA-03A0-F149-7D60-F115A40E3A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51F78CF-F55A-27DD-845C-71110F390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5D45AE3-0159-ADA7-1625-B9F786007B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11157760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324000" y="1080000"/>
            <a:ext cx="8496000" cy="3492000"/>
          </a:xfrm>
          <a:prstGeom prst="rect">
            <a:avLst/>
          </a:prstGeom>
        </p:spPr>
        <p:txBody>
          <a:bodyPr lIns="0" tIns="0" rIns="0" bIns="0"/>
          <a:lstStyle>
            <a:lvl1pPr marL="164588" indent="-164588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lvl1pPr>
            <a:lvl2pPr marL="329176" indent="-164588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lvl2pPr>
            <a:lvl3pPr marL="493764" indent="-164588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lvl3pPr>
            <a:lvl4pPr marL="658352" indent="-164588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ru-RU" dirty="0"/>
              <a:t>Параграф</a:t>
            </a:r>
            <a:r>
              <a:rPr lang="nl-NL" dirty="0"/>
              <a:t> 01 (</a:t>
            </a:r>
            <a:r>
              <a:rPr lang="en-US" dirty="0"/>
              <a:t>Segoe UI Regular</a:t>
            </a:r>
            <a:r>
              <a:rPr lang="nl-NL" dirty="0"/>
              <a:t> 14 pt)</a:t>
            </a:r>
          </a:p>
          <a:p>
            <a:pPr lvl="1"/>
            <a:r>
              <a:rPr lang="ru-RU" dirty="0"/>
              <a:t>Параграф </a:t>
            </a:r>
            <a:r>
              <a:rPr lang="nl-NL" dirty="0"/>
              <a:t>02 (</a:t>
            </a:r>
            <a:r>
              <a:rPr lang="en-US" dirty="0"/>
              <a:t>Segoe UI Regular</a:t>
            </a:r>
            <a:r>
              <a:rPr lang="nl-NL" dirty="0"/>
              <a:t> 12 pt)</a:t>
            </a:r>
          </a:p>
          <a:p>
            <a:pPr lvl="2"/>
            <a:r>
              <a:rPr lang="ru-RU" dirty="0"/>
              <a:t>Параграф </a:t>
            </a:r>
            <a:r>
              <a:rPr lang="nl-NL" dirty="0"/>
              <a:t> 03 (</a:t>
            </a:r>
            <a:r>
              <a:rPr lang="en-US" dirty="0"/>
              <a:t>Segoe UI Regular</a:t>
            </a:r>
            <a:r>
              <a:rPr lang="nl-NL" dirty="0"/>
              <a:t> 11 pt)</a:t>
            </a:r>
          </a:p>
          <a:p>
            <a:pPr lvl="3"/>
            <a:r>
              <a:rPr lang="ru-RU" dirty="0"/>
              <a:t>Параграф </a:t>
            </a:r>
            <a:r>
              <a:rPr lang="en-US" dirty="0"/>
              <a:t>04 (Segoe UI Regular 10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95501F-2915-5AED-B661-70113F44B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3274D63-7F57-1A1A-00DF-128D792311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5EFEBDB-E812-423F-509D-FF7BEB6D15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48284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C20DF42-863D-4864-B783-B1EC7CEE7910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 bwMode="invGray">
          <a:xfrm>
            <a:off x="324000" y="1080000"/>
            <a:ext cx="4643274" cy="349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52" marR="0" indent="-164588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ru-RU" dirty="0"/>
              <a:t>Параграф</a:t>
            </a:r>
            <a:r>
              <a:rPr lang="nl-NL" dirty="0"/>
              <a:t> 01 (</a:t>
            </a:r>
            <a:r>
              <a:rPr lang="en-US" dirty="0"/>
              <a:t>Segoe UI Regular</a:t>
            </a:r>
            <a:r>
              <a:rPr lang="nl-NL" dirty="0"/>
              <a:t> 14 pt)</a:t>
            </a:r>
          </a:p>
          <a:p>
            <a:pPr lvl="1"/>
            <a:r>
              <a:rPr lang="ru-RU" dirty="0"/>
              <a:t>Параграф </a:t>
            </a:r>
            <a:r>
              <a:rPr lang="nl-NL" dirty="0"/>
              <a:t>02 (</a:t>
            </a:r>
            <a:r>
              <a:rPr lang="en-US" dirty="0"/>
              <a:t>Segoe UI Regular</a:t>
            </a:r>
            <a:r>
              <a:rPr lang="nl-NL" dirty="0"/>
              <a:t> 12 pt)</a:t>
            </a:r>
          </a:p>
          <a:p>
            <a:pPr lvl="2"/>
            <a:r>
              <a:rPr lang="ru-RU" dirty="0"/>
              <a:t>Параграф </a:t>
            </a:r>
            <a:r>
              <a:rPr lang="nl-NL" dirty="0"/>
              <a:t> 03 (</a:t>
            </a:r>
            <a:r>
              <a:rPr lang="en-US" dirty="0"/>
              <a:t>Segoe UI Regular</a:t>
            </a:r>
            <a:r>
              <a:rPr lang="nl-NL" dirty="0"/>
              <a:t> 11 pt)</a:t>
            </a:r>
          </a:p>
          <a:p>
            <a:pPr lvl="3"/>
            <a:r>
              <a:rPr lang="ru-RU" dirty="0"/>
              <a:t>Параграф </a:t>
            </a:r>
            <a:r>
              <a:rPr lang="en-US" dirty="0"/>
              <a:t>04 (Segoe UI Regular 10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DBE6B0A-11C9-4607-AEBB-04B9ED54F675}"/>
              </a:ext>
            </a:extLst>
          </p:cNvPr>
          <p:cNvSpPr>
            <a:spLocks noGrp="1"/>
          </p:cNvSpPr>
          <p:nvPr userDrawn="1">
            <p:ph idx="11" hasCustomPrompt="1"/>
          </p:nvPr>
        </p:nvSpPr>
        <p:spPr bwMode="invGray">
          <a:xfrm>
            <a:off x="5147133" y="1080000"/>
            <a:ext cx="3657600" cy="349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658352" marR="0" indent="-164588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ru-RU" dirty="0"/>
              <a:t>Параграф</a:t>
            </a:r>
            <a:r>
              <a:rPr lang="nl-NL" dirty="0"/>
              <a:t> 01 (</a:t>
            </a:r>
            <a:r>
              <a:rPr lang="en-US" dirty="0"/>
              <a:t>Segoe UI Regular</a:t>
            </a:r>
            <a:r>
              <a:rPr lang="nl-NL" dirty="0"/>
              <a:t> 14 pt)</a:t>
            </a:r>
          </a:p>
          <a:p>
            <a:pPr lvl="1"/>
            <a:r>
              <a:rPr lang="ru-RU" dirty="0"/>
              <a:t>Параграф </a:t>
            </a:r>
            <a:r>
              <a:rPr lang="nl-NL" dirty="0"/>
              <a:t>02 (</a:t>
            </a:r>
            <a:r>
              <a:rPr lang="en-US" dirty="0"/>
              <a:t>Segoe UI Regular</a:t>
            </a:r>
            <a:r>
              <a:rPr lang="nl-NL" dirty="0"/>
              <a:t> 12 pt)</a:t>
            </a:r>
          </a:p>
          <a:p>
            <a:pPr lvl="2"/>
            <a:r>
              <a:rPr lang="ru-RU" dirty="0"/>
              <a:t>Параграф </a:t>
            </a:r>
            <a:r>
              <a:rPr lang="nl-NL" dirty="0"/>
              <a:t> 03 (</a:t>
            </a:r>
            <a:r>
              <a:rPr lang="en-US" dirty="0"/>
              <a:t>Segoe UI Regular</a:t>
            </a:r>
            <a:r>
              <a:rPr lang="nl-NL" dirty="0"/>
              <a:t> 11 pt)</a:t>
            </a:r>
          </a:p>
          <a:p>
            <a:pPr lvl="3"/>
            <a:r>
              <a:rPr lang="ru-RU" dirty="0"/>
              <a:t>Параграф </a:t>
            </a:r>
            <a:r>
              <a:rPr lang="en-US" dirty="0"/>
              <a:t>04 (Segoe UI Regular 10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1D6DC20-4458-486C-8833-F8842655943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53B463D-5C28-B8D0-574D-C444919F3B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17DBD5-A28F-6997-62BE-F8C982740A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9740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AAC43FA-2C17-4310-975D-9F2CC8E8A130}"/>
              </a:ext>
            </a:extLst>
          </p:cNvPr>
          <p:cNvSpPr/>
          <p:nvPr userDrawn="1"/>
        </p:nvSpPr>
        <p:spPr bwMode="invGray">
          <a:xfrm>
            <a:off x="324253" y="1748901"/>
            <a:ext cx="2383437" cy="825623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63853CF-3336-48A6-A5C4-BD73780749EA}"/>
              </a:ext>
            </a:extLst>
          </p:cNvPr>
          <p:cNvSpPr/>
          <p:nvPr userDrawn="1"/>
        </p:nvSpPr>
        <p:spPr bwMode="invGray">
          <a:xfrm>
            <a:off x="320676" y="3746378"/>
            <a:ext cx="2387014" cy="825623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D2044E8-B170-4670-93E7-0D73DE2C2BA1}"/>
              </a:ext>
            </a:extLst>
          </p:cNvPr>
          <p:cNvSpPr/>
          <p:nvPr userDrawn="1"/>
        </p:nvSpPr>
        <p:spPr bwMode="invGray">
          <a:xfrm>
            <a:off x="2894197" y="1080000"/>
            <a:ext cx="2867342" cy="540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F47391B-86BB-448B-BDAB-35ECA05C01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2894197" y="1748900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65DE240-9DED-468B-8408-87FDDC1791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20675" y="1748900"/>
            <a:ext cx="2389759" cy="822960"/>
          </a:xfrm>
        </p:spPr>
        <p:txBody>
          <a:bodyPr lIns="91440" tIns="91440" rIns="91440" bIns="45720" anchor="ctr"/>
          <a:lstStyle>
            <a:lvl1pPr marL="0" indent="0" algn="l">
              <a:buNone/>
              <a:defRPr sz="12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482BD1E-38F6-47D7-BBAC-A70C8E7A2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37972" y="3746377"/>
            <a:ext cx="2372462" cy="822960"/>
          </a:xfrm>
        </p:spPr>
        <p:txBody>
          <a:bodyPr lIns="91440" tIns="91440" rIns="91440" bIns="45720" anchor="ctr"/>
          <a:lstStyle>
            <a:lvl1pPr marL="0" indent="0" algn="l">
              <a:buNone/>
              <a:defRPr sz="12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FD8F45F-7B56-4332-AF85-2AE6A07C0D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2894197" y="2747639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DE47660-6FF5-4273-927F-10B15F30F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2894197" y="3746377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B1C8B2-9DC8-4FF8-A533-631CF381CF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invGray">
          <a:xfrm>
            <a:off x="5948047" y="1748900"/>
            <a:ext cx="2853115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CDB831E6-1489-49ED-9F9D-7DAAC230B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invGray">
          <a:xfrm>
            <a:off x="5948047" y="2747639"/>
            <a:ext cx="2853115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3D5D76A-D62F-4F95-80F9-A22030B231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5948047" y="3746377"/>
            <a:ext cx="2853115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9F96D3A1-11B2-4382-8EB9-8DA25C910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894197" y="1080000"/>
            <a:ext cx="2871216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80A609B-1E9B-43D5-9C67-882D8D8F76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5948047" y="1080000"/>
            <a:ext cx="2853115" cy="539496"/>
          </a:xfrm>
          <a:prstGeom prst="rect">
            <a:avLst/>
          </a:prstGeom>
          <a:solidFill>
            <a:schemeClr val="accent1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728362B-D456-5699-D9F2-483682BE3165}"/>
              </a:ext>
            </a:extLst>
          </p:cNvPr>
          <p:cNvSpPr/>
          <p:nvPr userDrawn="1"/>
        </p:nvSpPr>
        <p:spPr bwMode="invGray">
          <a:xfrm>
            <a:off x="320676" y="2744977"/>
            <a:ext cx="2387014" cy="825623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DD760B0-91C2-D620-9D63-29A7CDBF07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320674" y="2742313"/>
            <a:ext cx="2389759" cy="822960"/>
          </a:xfrm>
        </p:spPr>
        <p:txBody>
          <a:bodyPr lIns="91440" tIns="91440" rIns="91440" bIns="45720" anchor="ctr"/>
          <a:lstStyle>
            <a:lvl1pPr marL="0" indent="0" algn="l">
              <a:buNone/>
              <a:defRPr sz="12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0B555087-7887-467B-BEBA-E8DF2C813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B99EC1E-69BD-67DC-974B-28DFD9B35F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80E51C0-3708-548F-2CA1-66698E6C5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3565021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6C7E2EF-7F33-91AC-6BFE-E75FAF07C06D}"/>
              </a:ext>
            </a:extLst>
          </p:cNvPr>
          <p:cNvGrpSpPr/>
          <p:nvPr userDrawn="1"/>
        </p:nvGrpSpPr>
        <p:grpSpPr>
          <a:xfrm flipH="1">
            <a:off x="0" y="1742388"/>
            <a:ext cx="2394948" cy="3401708"/>
            <a:chOff x="6749053" y="1742387"/>
            <a:chExt cx="2394948" cy="3401708"/>
          </a:xfrm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ABC3BFA6-4323-A07F-45E4-FA8D96F89460}"/>
                </a:ext>
              </a:extLst>
            </p:cNvPr>
            <p:cNvSpPr/>
            <p:nvPr userDrawn="1"/>
          </p:nvSpPr>
          <p:spPr>
            <a:xfrm>
              <a:off x="7104964" y="3861765"/>
              <a:ext cx="2039037" cy="1282330"/>
            </a:xfrm>
            <a:custGeom>
              <a:avLst/>
              <a:gdLst>
                <a:gd name="connsiteX0" fmla="*/ 1416014 w 2039037"/>
                <a:gd name="connsiteY0" fmla="*/ 0 h 1282330"/>
                <a:gd name="connsiteX1" fmla="*/ 1969958 w 2039037"/>
                <a:gd name="connsiteY1" fmla="*/ 111836 h 1282330"/>
                <a:gd name="connsiteX2" fmla="*/ 2039037 w 2039037"/>
                <a:gd name="connsiteY2" fmla="*/ 145113 h 1282330"/>
                <a:gd name="connsiteX3" fmla="*/ 2039037 w 2039037"/>
                <a:gd name="connsiteY3" fmla="*/ 1282330 h 1282330"/>
                <a:gd name="connsiteX4" fmla="*/ 0 w 2039037"/>
                <a:gd name="connsiteY4" fmla="*/ 1282330 h 1282330"/>
                <a:gd name="connsiteX5" fmla="*/ 238 w 2039037"/>
                <a:gd name="connsiteY5" fmla="*/ 1277617 h 1282330"/>
                <a:gd name="connsiteX6" fmla="*/ 1416014 w 2039037"/>
                <a:gd name="connsiteY6" fmla="*/ 0 h 1282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9037" h="1282330">
                  <a:moveTo>
                    <a:pt x="1416014" y="0"/>
                  </a:moveTo>
                  <a:cubicBezTo>
                    <a:pt x="1612506" y="0"/>
                    <a:pt x="1799698" y="39822"/>
                    <a:pt x="1969958" y="111836"/>
                  </a:cubicBezTo>
                  <a:lnTo>
                    <a:pt x="2039037" y="145113"/>
                  </a:lnTo>
                  <a:lnTo>
                    <a:pt x="2039037" y="1282330"/>
                  </a:lnTo>
                  <a:lnTo>
                    <a:pt x="0" y="1282330"/>
                  </a:lnTo>
                  <a:lnTo>
                    <a:pt x="238" y="1277617"/>
                  </a:lnTo>
                  <a:cubicBezTo>
                    <a:pt x="73117" y="559999"/>
                    <a:pt x="679168" y="0"/>
                    <a:pt x="1416014" y="0"/>
                  </a:cubicBezTo>
                  <a:close/>
                </a:path>
              </a:pathLst>
            </a:custGeom>
            <a:gradFill flip="none" rotWithShape="1">
              <a:gsLst>
                <a:gs pos="1000">
                  <a:schemeClr val="bg1"/>
                </a:gs>
                <a:gs pos="100000">
                  <a:schemeClr val="accent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77ECEE3-5BBE-6974-99D8-83A7B001E113}"/>
                </a:ext>
              </a:extLst>
            </p:cNvPr>
            <p:cNvSpPr/>
            <p:nvPr userDrawn="1"/>
          </p:nvSpPr>
          <p:spPr>
            <a:xfrm>
              <a:off x="8565046" y="1742387"/>
              <a:ext cx="578954" cy="1158790"/>
            </a:xfrm>
            <a:custGeom>
              <a:avLst/>
              <a:gdLst>
                <a:gd name="connsiteX0" fmla="*/ 578954 w 578954"/>
                <a:gd name="connsiteY0" fmla="*/ 0 h 1158790"/>
                <a:gd name="connsiteX1" fmla="*/ 578954 w 578954"/>
                <a:gd name="connsiteY1" fmla="*/ 1158790 h 1158790"/>
                <a:gd name="connsiteX2" fmla="*/ 462666 w 578954"/>
                <a:gd name="connsiteY2" fmla="*/ 1147067 h 1158790"/>
                <a:gd name="connsiteX3" fmla="*/ 0 w 578954"/>
                <a:gd name="connsiteY3" fmla="*/ 579395 h 1158790"/>
                <a:gd name="connsiteX4" fmla="*/ 462666 w 578954"/>
                <a:gd name="connsiteY4" fmla="*/ 11723 h 1158790"/>
                <a:gd name="connsiteX5" fmla="*/ 578954 w 578954"/>
                <a:gd name="connsiteY5" fmla="*/ 0 h 1158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8954" h="1158790">
                  <a:moveTo>
                    <a:pt x="578954" y="0"/>
                  </a:moveTo>
                  <a:lnTo>
                    <a:pt x="578954" y="1158790"/>
                  </a:lnTo>
                  <a:lnTo>
                    <a:pt x="462666" y="1147067"/>
                  </a:lnTo>
                  <a:cubicBezTo>
                    <a:pt x="198623" y="1093036"/>
                    <a:pt x="0" y="859411"/>
                    <a:pt x="0" y="579395"/>
                  </a:cubicBezTo>
                  <a:cubicBezTo>
                    <a:pt x="0" y="299379"/>
                    <a:pt x="198623" y="65754"/>
                    <a:pt x="462666" y="11723"/>
                  </a:cubicBezTo>
                  <a:lnTo>
                    <a:pt x="578954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B34C6272-3628-D0A0-9845-92A0E8DAFD7E}"/>
                </a:ext>
              </a:extLst>
            </p:cNvPr>
            <p:cNvSpPr/>
            <p:nvPr userDrawn="1"/>
          </p:nvSpPr>
          <p:spPr>
            <a:xfrm>
              <a:off x="6749053" y="3212003"/>
              <a:ext cx="1755566" cy="1755566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61485C1-1562-710E-D3B2-F177858002B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3350727" y="1080000"/>
            <a:ext cx="5458968" cy="3493008"/>
          </a:xfrm>
        </p:spPr>
        <p:txBody>
          <a:bodyPr lIns="0" tIns="0" rIns="0" bIns="0" anchor="t"/>
          <a:lstStyle>
            <a:lvl1pPr marL="0" indent="0" algn="l">
              <a:buNone/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Цитата/Вводный текст</a:t>
            </a: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5F77E8-0854-0B9D-DF38-89D8319E4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2EE46D8-5EA6-56EB-4253-8E3A5F1D4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DB49FB-A805-CB11-31E6-615110C0C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invGray">
          <a:xfrm>
            <a:off x="497041" y="1788660"/>
            <a:ext cx="2075688" cy="207568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22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Полилиния: фигура 29">
            <a:extLst>
              <a:ext uri="{FF2B5EF4-FFF2-40B4-BE49-F238E27FC236}">
                <a16:creationId xmlns:a16="http://schemas.microsoft.com/office/drawing/2014/main" id="{E58C4314-39B5-E69E-B85D-79F50F925786}"/>
              </a:ext>
            </a:extLst>
          </p:cNvPr>
          <p:cNvSpPr/>
          <p:nvPr userDrawn="1"/>
        </p:nvSpPr>
        <p:spPr>
          <a:xfrm>
            <a:off x="1753908" y="5156200"/>
            <a:ext cx="262" cy="2598"/>
          </a:xfrm>
          <a:custGeom>
            <a:avLst/>
            <a:gdLst>
              <a:gd name="connsiteX0" fmla="*/ 0 w 262"/>
              <a:gd name="connsiteY0" fmla="*/ 0 h 2598"/>
              <a:gd name="connsiteX1" fmla="*/ 262 w 262"/>
              <a:gd name="connsiteY1" fmla="*/ 0 h 2598"/>
              <a:gd name="connsiteX2" fmla="*/ 262 w 262"/>
              <a:gd name="connsiteY2" fmla="*/ 2598 h 2598"/>
              <a:gd name="connsiteX3" fmla="*/ 0 w 262"/>
              <a:gd name="connsiteY3" fmla="*/ 0 h 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" h="2598">
                <a:moveTo>
                  <a:pt x="0" y="0"/>
                </a:moveTo>
                <a:lnTo>
                  <a:pt x="262" y="0"/>
                </a:lnTo>
                <a:lnTo>
                  <a:pt x="262" y="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800" dirty="0"/>
              <a:t> </a:t>
            </a:r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85113700-E75E-EF3F-2ED4-DE7426E401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Raleway Medium" pitchFamily="2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BC66E40-D9C8-D21A-9018-5581222B46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2" y="1507762"/>
            <a:ext cx="4680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rgbClr val="0596FF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/>
          <a:srcRect l="6281" t="13811" b="14065"/>
          <a:stretch/>
        </p:blipFill>
        <p:spPr>
          <a:xfrm>
            <a:off x="0" y="0"/>
            <a:ext cx="6679166" cy="51444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7007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>
            <a:extLst>
              <a:ext uri="{FF2B5EF4-FFF2-40B4-BE49-F238E27FC236}">
                <a16:creationId xmlns:a16="http://schemas.microsoft.com/office/drawing/2014/main" id="{448FD317-BB54-19D1-AEAE-FCED763176AC}"/>
              </a:ext>
            </a:extLst>
          </p:cNvPr>
          <p:cNvSpPr>
            <a:spLocks noChangeAspect="1"/>
          </p:cNvSpPr>
          <p:nvPr userDrawn="1"/>
        </p:nvSpPr>
        <p:spPr>
          <a:xfrm>
            <a:off x="2866924" y="1080619"/>
            <a:ext cx="1175675" cy="117567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A4FE8E61-334B-AD6C-7DBB-49A4440A3C11}"/>
              </a:ext>
            </a:extLst>
          </p:cNvPr>
          <p:cNvSpPr>
            <a:spLocks noChangeAspect="1"/>
          </p:cNvSpPr>
          <p:nvPr userDrawn="1"/>
        </p:nvSpPr>
        <p:spPr>
          <a:xfrm>
            <a:off x="5090500" y="1080619"/>
            <a:ext cx="1175675" cy="117567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F5EB2BD-1245-8580-2549-AB0C82EE87BE}"/>
              </a:ext>
            </a:extLst>
          </p:cNvPr>
          <p:cNvSpPr>
            <a:spLocks noChangeAspect="1"/>
          </p:cNvSpPr>
          <p:nvPr userDrawn="1"/>
        </p:nvSpPr>
        <p:spPr>
          <a:xfrm>
            <a:off x="7251258" y="1080619"/>
            <a:ext cx="1175675" cy="117567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95479346-AF73-9CBA-93B9-5628ACF94163}"/>
              </a:ext>
            </a:extLst>
          </p:cNvPr>
          <p:cNvSpPr>
            <a:spLocks noChangeAspect="1"/>
          </p:cNvSpPr>
          <p:nvPr userDrawn="1"/>
        </p:nvSpPr>
        <p:spPr>
          <a:xfrm>
            <a:off x="718650" y="1080620"/>
            <a:ext cx="1175675" cy="117567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invGray">
          <a:xfrm>
            <a:off x="328398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invGray">
          <a:xfrm>
            <a:off x="328398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CD32266-B506-4017-85D4-6D3B7BFD84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invGray">
          <a:xfrm>
            <a:off x="2500045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F3D9A09-E93B-484F-B386-63D774A061A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 bwMode="invGray">
          <a:xfrm>
            <a:off x="2500045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643D738-DC84-4B6E-8D85-DB400882990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invGray">
          <a:xfrm>
            <a:off x="4671692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69CB2B6-4B44-44E8-8312-78C8DCE900D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invGray">
          <a:xfrm>
            <a:off x="4671692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rgbClr val="D4056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6ACF818-5DC5-469C-BD9D-38C2BED2F78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invGray">
          <a:xfrm>
            <a:off x="6843338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2343530-9785-4BA5-AB3D-ED1A31D4EC71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invGray">
          <a:xfrm>
            <a:off x="6843338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rgbClr val="EF392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8DDEF6B-28E4-6F84-1C90-615090FE73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989277" y="1570469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52E3331A-A0EB-ADC8-FCEE-1AB9FE9FC11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3174361" y="1594298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A71877A-6EE4-173E-11B7-3C074BDDEB6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414467" y="1594316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E856B3D9-B05C-5568-E08F-2D982E0FED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7551616" y="1587195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8A2D6E-6FEA-DD4F-FC26-B02B9D678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7146E3D-6FAF-1145-3BB1-7704D2988C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1ADB852-270E-1AF2-6B86-03824FFA2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141387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>
            <a:extLst>
              <a:ext uri="{FF2B5EF4-FFF2-40B4-BE49-F238E27FC236}">
                <a16:creationId xmlns:a16="http://schemas.microsoft.com/office/drawing/2014/main" id="{E8976E68-EE61-D32E-7039-0CF4802EBD94}"/>
              </a:ext>
            </a:extLst>
          </p:cNvPr>
          <p:cNvSpPr>
            <a:spLocks noChangeAspect="1"/>
          </p:cNvSpPr>
          <p:nvPr userDrawn="1"/>
        </p:nvSpPr>
        <p:spPr>
          <a:xfrm>
            <a:off x="7233154" y="3088582"/>
            <a:ext cx="1188000" cy="11880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0618389D-BFBA-92BF-432A-CE1BE5D98E36}"/>
              </a:ext>
            </a:extLst>
          </p:cNvPr>
          <p:cNvSpPr>
            <a:spLocks noChangeAspect="1"/>
          </p:cNvSpPr>
          <p:nvPr userDrawn="1"/>
        </p:nvSpPr>
        <p:spPr>
          <a:xfrm>
            <a:off x="5053489" y="1401399"/>
            <a:ext cx="1188000" cy="11880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EEA63717-4781-A62F-B81C-82EB2A413E58}"/>
              </a:ext>
            </a:extLst>
          </p:cNvPr>
          <p:cNvSpPr>
            <a:spLocks noChangeAspect="1"/>
          </p:cNvSpPr>
          <p:nvPr userDrawn="1"/>
        </p:nvSpPr>
        <p:spPr>
          <a:xfrm>
            <a:off x="2881841" y="3088582"/>
            <a:ext cx="1188000" cy="11880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637A6A20-F738-5B82-AA4C-9D04E99ABE43}"/>
              </a:ext>
            </a:extLst>
          </p:cNvPr>
          <p:cNvSpPr>
            <a:spLocks noChangeAspect="1"/>
          </p:cNvSpPr>
          <p:nvPr userDrawn="1"/>
        </p:nvSpPr>
        <p:spPr>
          <a:xfrm>
            <a:off x="710194" y="1401399"/>
            <a:ext cx="1188000" cy="11880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325786" y="2677051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25786" y="1080000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E1A69AA-BB08-47ED-8A27-3EBD2285D3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2497433" y="1080000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E568E458-ED09-4594-BF03-6E7B9E566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669080" y="2677051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B164CC54-F8A7-4852-B819-D7C108DCD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848747" y="1080000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1E3A88E7-988D-47C0-8A7F-409F5119B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2497433" y="4350403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 b="1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1FBC6CF9-7E8C-4DC5-9B67-468A5F82C0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4669080" y="1080000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 b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C3C7B8A-741D-49C0-B7FB-F8BF4C55FB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6848747" y="4350403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 или Название</a:t>
            </a:r>
            <a:endParaRPr lang="en-US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4170142B-53B1-EF3E-4005-7D658E993F4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1034890" y="1903067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F5ECCE3-55A8-8C08-70AB-231ACC178B8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3206536" y="3590250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FA2BB5-87A5-F90E-7EC5-A12E4B46A08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378184" y="1903067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9F92B2E-86AD-7B9D-171E-AC2EA7FD84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7557850" y="3590250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6EBE7A3-4E13-B2F9-6A99-1529C442B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6907F09-4EA3-0020-2B51-05C56FBE79F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5813568-BEEF-903A-6F3C-AF0998C93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624069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invGray">
          <a:xfrm>
            <a:off x="331863" y="1080000"/>
            <a:ext cx="2029968" cy="5409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invGray">
          <a:xfrm>
            <a:off x="2483318" y="1080000"/>
            <a:ext cx="2029968" cy="5409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invGray">
          <a:xfrm>
            <a:off x="4634773" y="1080000"/>
            <a:ext cx="2029968" cy="5409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D4056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882BC4-5797-4DD0-AB8A-F46290A4A2A0}"/>
              </a:ext>
            </a:extLst>
          </p:cNvPr>
          <p:cNvSpPr/>
          <p:nvPr userDrawn="1"/>
        </p:nvSpPr>
        <p:spPr bwMode="invGray">
          <a:xfrm>
            <a:off x="6778207" y="1080000"/>
            <a:ext cx="2029968" cy="5409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4000" y="1080000"/>
            <a:ext cx="2029968" cy="539496"/>
          </a:xfrm>
          <a:solidFill>
            <a:schemeClr val="accent1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2483318" y="1080000"/>
            <a:ext cx="2029968" cy="539496"/>
          </a:xfr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4634773" y="1080000"/>
            <a:ext cx="2029968" cy="539496"/>
          </a:xfrm>
          <a:solidFill>
            <a:schemeClr val="accent3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6778207" y="1080000"/>
            <a:ext cx="2029968" cy="539496"/>
          </a:xfrm>
          <a:solidFill>
            <a:schemeClr val="accent4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731684"/>
            <a:ext cx="2029968" cy="2840317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83318" y="1731684"/>
            <a:ext cx="2029968" cy="2840317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B5558D-85E7-455F-8197-2348C0C6BD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4634773" y="1731684"/>
            <a:ext cx="2029968" cy="2840317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0E329C1-D403-47DC-9799-C5143A3083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6778207" y="1731684"/>
            <a:ext cx="2029968" cy="2840317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7A6524-E3FC-D035-20F5-46700A9D0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2B36943-154B-803F-D318-9D886A82A2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7D8D2F9-6501-D752-B9D5-C5EC6859EC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718690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>
            <a:extLst>
              <a:ext uri="{FF2B5EF4-FFF2-40B4-BE49-F238E27FC236}">
                <a16:creationId xmlns:a16="http://schemas.microsoft.com/office/drawing/2014/main" id="{F454CD72-53FC-F7CC-608B-2464CAD9133D}"/>
              </a:ext>
            </a:extLst>
          </p:cNvPr>
          <p:cNvSpPr>
            <a:spLocks noChangeAspect="1"/>
          </p:cNvSpPr>
          <p:nvPr userDrawn="1"/>
        </p:nvSpPr>
        <p:spPr>
          <a:xfrm>
            <a:off x="2169438" y="2378429"/>
            <a:ext cx="923545" cy="92354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0DD66B57-1066-E521-311F-6341061CC97F}"/>
              </a:ext>
            </a:extLst>
          </p:cNvPr>
          <p:cNvSpPr>
            <a:spLocks noChangeAspect="1"/>
          </p:cNvSpPr>
          <p:nvPr userDrawn="1"/>
        </p:nvSpPr>
        <p:spPr>
          <a:xfrm>
            <a:off x="1246152" y="3019859"/>
            <a:ext cx="923545" cy="92354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40C56721-2431-9097-5B77-643E4C44D69C}"/>
              </a:ext>
            </a:extLst>
          </p:cNvPr>
          <p:cNvSpPr>
            <a:spLocks noChangeAspect="1"/>
          </p:cNvSpPr>
          <p:nvPr userDrawn="1"/>
        </p:nvSpPr>
        <p:spPr>
          <a:xfrm>
            <a:off x="3970993" y="1096190"/>
            <a:ext cx="923545" cy="92354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1E881EB5-2B83-E356-549F-136840B8B738}"/>
              </a:ext>
            </a:extLst>
          </p:cNvPr>
          <p:cNvSpPr>
            <a:spLocks noChangeAspect="1"/>
          </p:cNvSpPr>
          <p:nvPr userDrawn="1"/>
        </p:nvSpPr>
        <p:spPr>
          <a:xfrm>
            <a:off x="364222" y="3648456"/>
            <a:ext cx="923545" cy="92354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B56454A7-6622-C358-AF40-2FADD868C5FE}"/>
              </a:ext>
            </a:extLst>
          </p:cNvPr>
          <p:cNvSpPr>
            <a:spLocks noChangeAspect="1"/>
          </p:cNvSpPr>
          <p:nvPr userDrawn="1"/>
        </p:nvSpPr>
        <p:spPr>
          <a:xfrm>
            <a:off x="3069388" y="1731039"/>
            <a:ext cx="923545" cy="923545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126CDE0-1019-4C6A-A885-33A29BC441DE}"/>
              </a:ext>
            </a:extLst>
          </p:cNvPr>
          <p:cNvSpPr>
            <a:spLocks/>
          </p:cNvSpPr>
          <p:nvPr userDrawn="1"/>
        </p:nvSpPr>
        <p:spPr bwMode="invGray">
          <a:xfrm>
            <a:off x="2423691" y="3544642"/>
            <a:ext cx="6381317" cy="37286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8DC1592-6D6A-44FC-BEE8-54ACFA33F527}"/>
              </a:ext>
            </a:extLst>
          </p:cNvPr>
          <p:cNvSpPr>
            <a:spLocks/>
          </p:cNvSpPr>
          <p:nvPr userDrawn="1"/>
        </p:nvSpPr>
        <p:spPr bwMode="invGray">
          <a:xfrm>
            <a:off x="3329213" y="2890144"/>
            <a:ext cx="5475795" cy="37286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055CC8A-A8C2-4330-804C-8514561E0CC7}"/>
              </a:ext>
            </a:extLst>
          </p:cNvPr>
          <p:cNvSpPr>
            <a:spLocks/>
          </p:cNvSpPr>
          <p:nvPr userDrawn="1"/>
        </p:nvSpPr>
        <p:spPr bwMode="invGray">
          <a:xfrm>
            <a:off x="4261368" y="2235647"/>
            <a:ext cx="4543640" cy="37286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accent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76F0322-7273-4B4B-827B-1CFB479D1C12}"/>
              </a:ext>
            </a:extLst>
          </p:cNvPr>
          <p:cNvSpPr>
            <a:spLocks/>
          </p:cNvSpPr>
          <p:nvPr userDrawn="1"/>
        </p:nvSpPr>
        <p:spPr bwMode="invGray">
          <a:xfrm>
            <a:off x="5178845" y="1581151"/>
            <a:ext cx="3626163" cy="37286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2423691" y="3544642"/>
            <a:ext cx="6381317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rgbClr val="D4056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3329213" y="2890144"/>
            <a:ext cx="54757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4261368" y="2235647"/>
            <a:ext cx="4543640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rgbClr val="D4056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348901D-A737-400F-9AEA-C80A374355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5178845" y="1581151"/>
            <a:ext cx="3626163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rgbClr val="EF392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E24CE73-EE80-44BF-BEE2-FD200652961F}"/>
              </a:ext>
            </a:extLst>
          </p:cNvPr>
          <p:cNvSpPr>
            <a:spLocks/>
          </p:cNvSpPr>
          <p:nvPr userDrawn="1"/>
        </p:nvSpPr>
        <p:spPr bwMode="invGray">
          <a:xfrm>
            <a:off x="1500413" y="4199138"/>
            <a:ext cx="7304595" cy="37286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1500413" y="4199138"/>
            <a:ext cx="73045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A553ED2-1D0F-4A21-AC19-AD21E2B808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713488" y="3925563"/>
            <a:ext cx="166712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2DF333ED-9AC6-4BF6-B310-813AD8D5D3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1613373" y="3243391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209A6F68-8C0A-41BD-AC98-FC9BDC36C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2547051" y="2635132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8F393371-8C00-4B19-BB4B-D34D077027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3463833" y="1989916"/>
            <a:ext cx="165911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92273FE-E1E9-4FF4-AD6F-174466E8E3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4380615" y="1344702"/>
            <a:ext cx="169918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0B7E83-BA0C-218B-179A-2E08C09C9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2323D2-47E7-F8EB-70FD-0D82ADE7FC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4FB205D-0356-BC44-36C3-C4DD37DD20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02373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99F561A-3D04-4AD1-B624-3E5304B57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31863" y="1080000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B8813ED6-0387-4311-86DE-6EE0C77DE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3202429" y="1080000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 b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B248BA4-415C-4ED3-98C5-1C2FF0B2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6072996" y="1080000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31863" y="1600198"/>
            <a:ext cx="2743200" cy="2971800"/>
          </a:xfrm>
        </p:spPr>
        <p:txBody>
          <a:bodyPr lIns="0" tIns="0" rIns="0" bIns="0" anchor="t" anchorCtr="0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3202429" y="1600198"/>
            <a:ext cx="2743200" cy="2971800"/>
          </a:xfrm>
        </p:spPr>
        <p:txBody>
          <a:bodyPr lIns="0" tIns="0" rIns="0" bIns="0" anchor="t" anchorCtr="0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072996" y="1600198"/>
            <a:ext cx="2743200" cy="2971800"/>
          </a:xfrm>
        </p:spPr>
        <p:txBody>
          <a:bodyPr lIns="0" tIns="0" rIns="0" bIns="0" anchor="t" anchorCtr="0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965112B-F066-4167-AA5D-CEB0B5B9A4A3}"/>
              </a:ext>
            </a:extLst>
          </p:cNvPr>
          <p:cNvCxnSpPr/>
          <p:nvPr userDrawn="1"/>
        </p:nvCxnSpPr>
        <p:spPr bwMode="invGray">
          <a:xfrm>
            <a:off x="331864" y="1529492"/>
            <a:ext cx="274319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7D21243-3478-49BC-8C0E-62AF89B2F788}"/>
              </a:ext>
            </a:extLst>
          </p:cNvPr>
          <p:cNvCxnSpPr/>
          <p:nvPr userDrawn="1"/>
        </p:nvCxnSpPr>
        <p:spPr bwMode="invGray">
          <a:xfrm>
            <a:off x="3202430" y="1529492"/>
            <a:ext cx="2743199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3C89826-6E78-4C61-BAD8-BA75866F53A0}"/>
              </a:ext>
            </a:extLst>
          </p:cNvPr>
          <p:cNvCxnSpPr/>
          <p:nvPr userDrawn="1"/>
        </p:nvCxnSpPr>
        <p:spPr bwMode="invGray">
          <a:xfrm>
            <a:off x="6072997" y="1529492"/>
            <a:ext cx="274319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1974F9D-E354-17EF-52B1-4627A82D39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446EBAE-ABFE-A75C-15E0-E61B24574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ED238C3-6C9A-C185-29C3-E5893B40B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294553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D3A9E04-8938-EEA9-B9B2-6FD275EACC6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invGray">
          <a:xfrm>
            <a:off x="324000" y="1080000"/>
            <a:ext cx="438912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7577091-2A3C-6F15-0479-194BBE4DE742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invGray">
          <a:xfrm>
            <a:off x="4859135" y="1080000"/>
            <a:ext cx="3951653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Ключевые (основные) моменты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CF9BAFE-E68D-C1A2-09D0-4A599CB4C2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5D9F14-578C-6391-552B-1D186A8154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B5FBD-3639-F05A-4B3B-49097900F3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119941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542B6553-A57A-815B-E2C3-BB540DC3A140}"/>
              </a:ext>
            </a:extLst>
          </p:cNvPr>
          <p:cNvGrpSpPr/>
          <p:nvPr userDrawn="1"/>
        </p:nvGrpSpPr>
        <p:grpSpPr>
          <a:xfrm>
            <a:off x="6522858" y="1751458"/>
            <a:ext cx="2621144" cy="3392042"/>
            <a:chOff x="6522857" y="1751458"/>
            <a:chExt cx="2621144" cy="3392042"/>
          </a:xfrm>
        </p:grpSpPr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97C9307A-7AF6-1A21-A292-12574AC51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522857" y="2714056"/>
              <a:ext cx="2621143" cy="2429444"/>
            </a:xfrm>
            <a:custGeom>
              <a:avLst/>
              <a:gdLst>
                <a:gd name="connsiteX0" fmla="*/ 1131610 w 2621143"/>
                <a:gd name="connsiteY0" fmla="*/ 0 h 2429444"/>
                <a:gd name="connsiteX1" fmla="*/ 78351 w 2621143"/>
                <a:gd name="connsiteY1" fmla="*/ 436274 h 2429444"/>
                <a:gd name="connsiteX2" fmla="*/ 0 w 2621143"/>
                <a:gd name="connsiteY2" fmla="*/ 522482 h 2429444"/>
                <a:gd name="connsiteX3" fmla="*/ 0 w 2621143"/>
                <a:gd name="connsiteY3" fmla="*/ 2429444 h 2429444"/>
                <a:gd name="connsiteX4" fmla="*/ 2286667 w 2621143"/>
                <a:gd name="connsiteY4" fmla="*/ 2429444 h 2429444"/>
                <a:gd name="connsiteX5" fmla="*/ 2366754 w 2621143"/>
                <a:gd name="connsiteY5" fmla="*/ 2322345 h 2429444"/>
                <a:gd name="connsiteX6" fmla="*/ 2621143 w 2621143"/>
                <a:gd name="connsiteY6" fmla="*/ 1489533 h 2429444"/>
                <a:gd name="connsiteX7" fmla="*/ 1131610 w 2621143"/>
                <a:gd name="connsiteY7" fmla="*/ 0 h 242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1143" h="2429444">
                  <a:moveTo>
                    <a:pt x="1131610" y="0"/>
                  </a:moveTo>
                  <a:cubicBezTo>
                    <a:pt x="720287" y="0"/>
                    <a:pt x="347904" y="166722"/>
                    <a:pt x="78351" y="436274"/>
                  </a:cubicBezTo>
                  <a:lnTo>
                    <a:pt x="0" y="522482"/>
                  </a:lnTo>
                  <a:lnTo>
                    <a:pt x="0" y="2429444"/>
                  </a:lnTo>
                  <a:lnTo>
                    <a:pt x="2286667" y="2429444"/>
                  </a:lnTo>
                  <a:lnTo>
                    <a:pt x="2366754" y="2322345"/>
                  </a:lnTo>
                  <a:cubicBezTo>
                    <a:pt x="2527362" y="2084614"/>
                    <a:pt x="2621143" y="1798025"/>
                    <a:pt x="2621143" y="1489533"/>
                  </a:cubicBezTo>
                  <a:cubicBezTo>
                    <a:pt x="2621143" y="666887"/>
                    <a:pt x="1954256" y="0"/>
                    <a:pt x="1131610" y="0"/>
                  </a:cubicBezTo>
                  <a:close/>
                </a:path>
              </a:pathLst>
            </a:custGeom>
            <a:gradFill flip="none" rotWithShape="1">
              <a:gsLst>
                <a:gs pos="54216">
                  <a:schemeClr val="bg1"/>
                </a:gs>
                <a:gs pos="100000">
                  <a:schemeClr val="accent3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D919603F-A78B-EA4A-77C0-42BBDECDC52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135661" y="1751458"/>
              <a:ext cx="1008340" cy="2152763"/>
            </a:xfrm>
            <a:custGeom>
              <a:avLst/>
              <a:gdLst>
                <a:gd name="connsiteX0" fmla="*/ 0 w 1008340"/>
                <a:gd name="connsiteY0" fmla="*/ 0 h 2152763"/>
                <a:gd name="connsiteX1" fmla="*/ 0 w 1008340"/>
                <a:gd name="connsiteY1" fmla="*/ 2152763 h 2152763"/>
                <a:gd name="connsiteX2" fmla="*/ 38764 w 1008340"/>
                <a:gd name="connsiteY2" fmla="*/ 2150805 h 2152763"/>
                <a:gd name="connsiteX3" fmla="*/ 1008340 w 1008340"/>
                <a:gd name="connsiteY3" fmla="*/ 1076381 h 2152763"/>
                <a:gd name="connsiteX4" fmla="*/ 38764 w 1008340"/>
                <a:gd name="connsiteY4" fmla="*/ 1957 h 2152763"/>
                <a:gd name="connsiteX5" fmla="*/ 0 w 1008340"/>
                <a:gd name="connsiteY5" fmla="*/ 0 h 2152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8340" h="2152763">
                  <a:moveTo>
                    <a:pt x="0" y="0"/>
                  </a:moveTo>
                  <a:lnTo>
                    <a:pt x="0" y="2152763"/>
                  </a:lnTo>
                  <a:lnTo>
                    <a:pt x="38764" y="2150805"/>
                  </a:lnTo>
                  <a:cubicBezTo>
                    <a:pt x="583361" y="2095498"/>
                    <a:pt x="1008340" y="1635570"/>
                    <a:pt x="1008340" y="1076381"/>
                  </a:cubicBezTo>
                  <a:cubicBezTo>
                    <a:pt x="1008340" y="517192"/>
                    <a:pt x="583361" y="57264"/>
                    <a:pt x="38764" y="1957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54216">
                  <a:schemeClr val="bg1"/>
                </a:gs>
                <a:gs pos="100000">
                  <a:schemeClr val="accent3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4D6839B-D0E6-258B-9E0F-2162FAF86D8D}"/>
              </a:ext>
            </a:extLst>
          </p:cNvPr>
          <p:cNvSpPr/>
          <p:nvPr userDrawn="1"/>
        </p:nvSpPr>
        <p:spPr>
          <a:xfrm>
            <a:off x="1" y="1"/>
            <a:ext cx="9143999" cy="515152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438912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4859135" y="1080000"/>
            <a:ext cx="3951653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Ключевые (основные) моменты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660DCEC-5693-DBFB-D079-F2866A41EC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A0C5717-8C19-8DC0-8865-98D276CC2C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4405523-D22E-ED0F-2BCD-F7DF12FAD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7402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849600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3F7992-C182-3A40-A948-4CD80B3B36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F56CCDB-6FE0-E668-3FE5-5515A5D8C1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BCEA946-2BD0-C364-BDC9-3C30518A2F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002907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4AFE89FB-3CFD-43D0-AF90-3E8563905C16}"/>
              </a:ext>
            </a:extLst>
          </p:cNvPr>
          <p:cNvGrpSpPr/>
          <p:nvPr userDrawn="1"/>
        </p:nvGrpSpPr>
        <p:grpSpPr>
          <a:xfrm>
            <a:off x="82240" y="1184845"/>
            <a:ext cx="9061760" cy="3949460"/>
            <a:chOff x="82240" y="1184844"/>
            <a:chExt cx="9061760" cy="3949460"/>
          </a:xfrm>
        </p:grpSpPr>
        <p:sp>
          <p:nvSpPr>
            <p:cNvPr id="3" name="Овал 2">
              <a:extLst>
                <a:ext uri="{FF2B5EF4-FFF2-40B4-BE49-F238E27FC236}">
                  <a16:creationId xmlns:a16="http://schemas.microsoft.com/office/drawing/2014/main" id="{B5B6150E-DB2F-F838-A4B2-6925A0531E0C}"/>
                </a:ext>
              </a:extLst>
            </p:cNvPr>
            <p:cNvSpPr/>
            <p:nvPr userDrawn="1"/>
          </p:nvSpPr>
          <p:spPr>
            <a:xfrm>
              <a:off x="1219781" y="3898400"/>
              <a:ext cx="1176989" cy="117698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9BE6B84A-7EFF-A625-3FF1-61DE0985350E}"/>
                </a:ext>
              </a:extLst>
            </p:cNvPr>
            <p:cNvSpPr/>
            <p:nvPr userDrawn="1"/>
          </p:nvSpPr>
          <p:spPr>
            <a:xfrm>
              <a:off x="99780" y="1991581"/>
              <a:ext cx="1944920" cy="1944920"/>
            </a:xfrm>
            <a:prstGeom prst="ellipse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69524529-E662-A8C7-6C9F-E630281DBC86}"/>
                </a:ext>
              </a:extLst>
            </p:cNvPr>
            <p:cNvSpPr/>
            <p:nvPr userDrawn="1"/>
          </p:nvSpPr>
          <p:spPr>
            <a:xfrm>
              <a:off x="1383814" y="1646369"/>
              <a:ext cx="1001322" cy="100132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E851B983-2D52-9C22-7AE9-2ADE7C5E464B}"/>
                </a:ext>
              </a:extLst>
            </p:cNvPr>
            <p:cNvGrpSpPr/>
            <p:nvPr userDrawn="1"/>
          </p:nvGrpSpPr>
          <p:grpSpPr>
            <a:xfrm>
              <a:off x="82240" y="1184844"/>
              <a:ext cx="9061760" cy="3949460"/>
              <a:chOff x="82240" y="1184844"/>
              <a:chExt cx="9061760" cy="3949460"/>
            </a:xfrm>
          </p:grpSpPr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9448CB1A-A56D-0F22-4F06-8084AF69ACF0}"/>
                  </a:ext>
                </a:extLst>
              </p:cNvPr>
              <p:cNvSpPr/>
              <p:nvPr userDrawn="1"/>
            </p:nvSpPr>
            <p:spPr>
              <a:xfrm>
                <a:off x="8194229" y="1214146"/>
                <a:ext cx="949771" cy="1065130"/>
              </a:xfrm>
              <a:custGeom>
                <a:avLst/>
                <a:gdLst>
                  <a:gd name="connsiteX0" fmla="*/ 532565 w 949771"/>
                  <a:gd name="connsiteY0" fmla="*/ 0 h 1065130"/>
                  <a:gd name="connsiteX1" fmla="*/ 909146 w 949771"/>
                  <a:gd name="connsiteY1" fmla="*/ 155985 h 1065130"/>
                  <a:gd name="connsiteX2" fmla="*/ 949771 w 949771"/>
                  <a:gd name="connsiteY2" fmla="*/ 205224 h 1065130"/>
                  <a:gd name="connsiteX3" fmla="*/ 949771 w 949771"/>
                  <a:gd name="connsiteY3" fmla="*/ 859907 h 1065130"/>
                  <a:gd name="connsiteX4" fmla="*/ 909146 w 949771"/>
                  <a:gd name="connsiteY4" fmla="*/ 909146 h 1065130"/>
                  <a:gd name="connsiteX5" fmla="*/ 532565 w 949771"/>
                  <a:gd name="connsiteY5" fmla="*/ 1065130 h 1065130"/>
                  <a:gd name="connsiteX6" fmla="*/ 0 w 949771"/>
                  <a:gd name="connsiteY6" fmla="*/ 532565 h 1065130"/>
                  <a:gd name="connsiteX7" fmla="*/ 532565 w 949771"/>
                  <a:gd name="connsiteY7" fmla="*/ 0 h 1065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9771" h="1065130">
                    <a:moveTo>
                      <a:pt x="532565" y="0"/>
                    </a:moveTo>
                    <a:cubicBezTo>
                      <a:pt x="679629" y="0"/>
                      <a:pt x="812770" y="59609"/>
                      <a:pt x="909146" y="155985"/>
                    </a:cubicBezTo>
                    <a:lnTo>
                      <a:pt x="949771" y="205224"/>
                    </a:lnTo>
                    <a:lnTo>
                      <a:pt x="949771" y="859907"/>
                    </a:lnTo>
                    <a:lnTo>
                      <a:pt x="909146" y="909146"/>
                    </a:lnTo>
                    <a:cubicBezTo>
                      <a:pt x="812770" y="1005521"/>
                      <a:pt x="679629" y="1065130"/>
                      <a:pt x="532565" y="1065130"/>
                    </a:cubicBezTo>
                    <a:cubicBezTo>
                      <a:pt x="238437" y="1065130"/>
                      <a:pt x="0" y="826693"/>
                      <a:pt x="0" y="532565"/>
                    </a:cubicBezTo>
                    <a:cubicBezTo>
                      <a:pt x="0" y="238437"/>
                      <a:pt x="238437" y="0"/>
                      <a:pt x="53256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alpha val="48000"/>
                    </a:schemeClr>
                  </a:gs>
                  <a:gs pos="99000">
                    <a:schemeClr val="accent1">
                      <a:alpha val="18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Полилиния: фигура 27">
                <a:extLst>
                  <a:ext uri="{FF2B5EF4-FFF2-40B4-BE49-F238E27FC236}">
                    <a16:creationId xmlns:a16="http://schemas.microsoft.com/office/drawing/2014/main" id="{1A4D4380-66D6-F7EF-B417-B3F42A9F9359}"/>
                  </a:ext>
                </a:extLst>
              </p:cNvPr>
              <p:cNvSpPr/>
              <p:nvPr userDrawn="1"/>
            </p:nvSpPr>
            <p:spPr>
              <a:xfrm>
                <a:off x="8948092" y="1184844"/>
                <a:ext cx="195907" cy="521445"/>
              </a:xfrm>
              <a:custGeom>
                <a:avLst/>
                <a:gdLst>
                  <a:gd name="connsiteX0" fmla="*/ 195907 w 195907"/>
                  <a:gd name="connsiteY0" fmla="*/ 0 h 521445"/>
                  <a:gd name="connsiteX1" fmla="*/ 195907 w 195907"/>
                  <a:gd name="connsiteY1" fmla="*/ 521445 h 521445"/>
                  <a:gd name="connsiteX2" fmla="*/ 166838 w 195907"/>
                  <a:gd name="connsiteY2" fmla="*/ 512421 h 521445"/>
                  <a:gd name="connsiteX3" fmla="*/ 0 w 195907"/>
                  <a:gd name="connsiteY3" fmla="*/ 260722 h 521445"/>
                  <a:gd name="connsiteX4" fmla="*/ 166838 w 195907"/>
                  <a:gd name="connsiteY4" fmla="*/ 9023 h 521445"/>
                  <a:gd name="connsiteX5" fmla="*/ 195907 w 195907"/>
                  <a:gd name="connsiteY5" fmla="*/ 0 h 521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907" h="521445">
                    <a:moveTo>
                      <a:pt x="195907" y="0"/>
                    </a:moveTo>
                    <a:lnTo>
                      <a:pt x="195907" y="521445"/>
                    </a:lnTo>
                    <a:lnTo>
                      <a:pt x="166838" y="512421"/>
                    </a:lnTo>
                    <a:cubicBezTo>
                      <a:pt x="68794" y="470952"/>
                      <a:pt x="0" y="373871"/>
                      <a:pt x="0" y="260722"/>
                    </a:cubicBezTo>
                    <a:cubicBezTo>
                      <a:pt x="0" y="147573"/>
                      <a:pt x="68794" y="50492"/>
                      <a:pt x="166838" y="9023"/>
                    </a:cubicBezTo>
                    <a:lnTo>
                      <a:pt x="195907" y="0"/>
                    </a:lnTo>
                    <a:close/>
                  </a:path>
                </a:pathLst>
              </a:custGeom>
              <a:gradFill flip="none" rotWithShape="1">
                <a:gsLst>
                  <a:gs pos="30000">
                    <a:schemeClr val="accent2"/>
                  </a:gs>
                  <a:gs pos="100000">
                    <a:schemeClr val="accent3">
                      <a:alpha val="4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FF218E07-81F4-22AD-E147-B4578F609FAA}"/>
                  </a:ext>
                </a:extLst>
              </p:cNvPr>
              <p:cNvSpPr/>
              <p:nvPr userDrawn="1"/>
            </p:nvSpPr>
            <p:spPr>
              <a:xfrm>
                <a:off x="82240" y="1974041"/>
                <a:ext cx="1980000" cy="1980000"/>
              </a:xfrm>
              <a:prstGeom prst="ellipse">
                <a:avLst/>
              </a:prstGeom>
              <a:gradFill flip="none" rotWithShape="1">
                <a:gsLst>
                  <a:gs pos="28000">
                    <a:schemeClr val="bg1"/>
                  </a:gs>
                  <a:gs pos="100000">
                    <a:schemeClr val="bg1">
                      <a:alpha val="31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723B7492-B6E6-4643-EB48-20C620AAD155}"/>
                  </a:ext>
                </a:extLst>
              </p:cNvPr>
              <p:cNvSpPr/>
              <p:nvPr userDrawn="1"/>
            </p:nvSpPr>
            <p:spPr>
              <a:xfrm>
                <a:off x="1160866" y="3839485"/>
                <a:ext cx="1294819" cy="1294819"/>
              </a:xfrm>
              <a:prstGeom prst="ellipse">
                <a:avLst/>
              </a:prstGeom>
              <a:gradFill flip="none" rotWithShape="1">
                <a:gsLst>
                  <a:gs pos="28000">
                    <a:schemeClr val="bg1"/>
                  </a:gs>
                  <a:gs pos="100000">
                    <a:schemeClr val="bg1">
                      <a:alpha val="2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DBE81ECC-D375-6035-A039-53484536A96D}"/>
                  </a:ext>
                </a:extLst>
              </p:cNvPr>
              <p:cNvSpPr/>
              <p:nvPr userDrawn="1"/>
            </p:nvSpPr>
            <p:spPr>
              <a:xfrm>
                <a:off x="1380475" y="1643030"/>
                <a:ext cx="1008000" cy="1008000"/>
              </a:xfrm>
              <a:prstGeom prst="ellipse">
                <a:avLst/>
              </a:prstGeom>
              <a:gradFill flip="none" rotWithShape="1">
                <a:gsLst>
                  <a:gs pos="30000">
                    <a:schemeClr val="bg1"/>
                  </a:gs>
                  <a:gs pos="100000">
                    <a:schemeClr val="bg1">
                      <a:alpha val="46000"/>
                    </a:schemeClr>
                  </a:gs>
                </a:gsLst>
                <a:lin ang="81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4A9D200-79CA-A33F-F28A-CDF12FEE6E36}"/>
              </a:ext>
            </a:extLst>
          </p:cNvPr>
          <p:cNvSpPr/>
          <p:nvPr userDrawn="1"/>
        </p:nvSpPr>
        <p:spPr>
          <a:xfrm>
            <a:off x="1" y="1"/>
            <a:ext cx="9143999" cy="515152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BAC2AE6-CE79-F904-8368-B1500BBDA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849600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2802C79-FE81-9C6A-569D-89B4EA8210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350606B-19C6-A218-9150-30202C5AEF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9C6EFF3-4853-D12D-D83E-3CCE3ED3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41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5B22A33-3641-2E5A-A497-AAED7EF6AB8F}"/>
              </a:ext>
            </a:extLst>
          </p:cNvPr>
          <p:cNvGrpSpPr/>
          <p:nvPr userDrawn="1"/>
        </p:nvGrpSpPr>
        <p:grpSpPr>
          <a:xfrm>
            <a:off x="1" y="1208170"/>
            <a:ext cx="9144001" cy="3935330"/>
            <a:chOff x="0" y="1208170"/>
            <a:chExt cx="9144001" cy="3935330"/>
          </a:xfrm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7AE5599B-B42A-0AE4-48F9-F8A10CDB79D3}"/>
                </a:ext>
              </a:extLst>
            </p:cNvPr>
            <p:cNvSpPr/>
            <p:nvPr userDrawn="1"/>
          </p:nvSpPr>
          <p:spPr>
            <a:xfrm>
              <a:off x="7222951" y="1499536"/>
              <a:ext cx="1921049" cy="2159978"/>
            </a:xfrm>
            <a:custGeom>
              <a:avLst/>
              <a:gdLst>
                <a:gd name="connsiteX0" fmla="*/ 1079989 w 1921049"/>
                <a:gd name="connsiteY0" fmla="*/ 0 h 2159978"/>
                <a:gd name="connsiteX1" fmla="*/ 1913361 w 1921049"/>
                <a:gd name="connsiteY1" fmla="*/ 393016 h 2159978"/>
                <a:gd name="connsiteX2" fmla="*/ 1921049 w 1921049"/>
                <a:gd name="connsiteY2" fmla="*/ 403297 h 2159978"/>
                <a:gd name="connsiteX3" fmla="*/ 1921049 w 1921049"/>
                <a:gd name="connsiteY3" fmla="*/ 1756681 h 2159978"/>
                <a:gd name="connsiteX4" fmla="*/ 1913361 w 1921049"/>
                <a:gd name="connsiteY4" fmla="*/ 1766962 h 2159978"/>
                <a:gd name="connsiteX5" fmla="*/ 1079989 w 1921049"/>
                <a:gd name="connsiteY5" fmla="*/ 2159978 h 2159978"/>
                <a:gd name="connsiteX6" fmla="*/ 0 w 1921049"/>
                <a:gd name="connsiteY6" fmla="*/ 1079989 h 2159978"/>
                <a:gd name="connsiteX7" fmla="*/ 1079989 w 1921049"/>
                <a:gd name="connsiteY7" fmla="*/ 0 h 215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1049" h="2159978">
                  <a:moveTo>
                    <a:pt x="1079989" y="0"/>
                  </a:moveTo>
                  <a:cubicBezTo>
                    <a:pt x="1415498" y="0"/>
                    <a:pt x="1715275" y="152991"/>
                    <a:pt x="1913361" y="393016"/>
                  </a:cubicBezTo>
                  <a:lnTo>
                    <a:pt x="1921049" y="403297"/>
                  </a:lnTo>
                  <a:lnTo>
                    <a:pt x="1921049" y="1756681"/>
                  </a:lnTo>
                  <a:lnTo>
                    <a:pt x="1913361" y="1766962"/>
                  </a:lnTo>
                  <a:cubicBezTo>
                    <a:pt x="1715275" y="2006987"/>
                    <a:pt x="1415498" y="2159978"/>
                    <a:pt x="1079989" y="2159978"/>
                  </a:cubicBezTo>
                  <a:cubicBezTo>
                    <a:pt x="483528" y="2159978"/>
                    <a:pt x="0" y="1676450"/>
                    <a:pt x="0" y="1079989"/>
                  </a:cubicBezTo>
                  <a:cubicBezTo>
                    <a:pt x="0" y="483528"/>
                    <a:pt x="483528" y="0"/>
                    <a:pt x="107998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9000"/>
                  </a:schemeClr>
                </a:gs>
                <a:gs pos="88000">
                  <a:schemeClr val="bg1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6E47F4E5-6DF3-1643-B75C-9740A540B2CA}"/>
                </a:ext>
              </a:extLst>
            </p:cNvPr>
            <p:cNvSpPr/>
            <p:nvPr userDrawn="1"/>
          </p:nvSpPr>
          <p:spPr>
            <a:xfrm>
              <a:off x="0" y="2860147"/>
              <a:ext cx="1580681" cy="2283353"/>
            </a:xfrm>
            <a:custGeom>
              <a:avLst/>
              <a:gdLst>
                <a:gd name="connsiteX0" fmla="*/ 305654 w 1580681"/>
                <a:gd name="connsiteY0" fmla="*/ 0 h 2283353"/>
                <a:gd name="connsiteX1" fmla="*/ 1580681 w 1580681"/>
                <a:gd name="connsiteY1" fmla="*/ 1275027 h 2283353"/>
                <a:gd name="connsiteX2" fmla="*/ 1116690 w 1580681"/>
                <a:gd name="connsiteY2" fmla="*/ 2258900 h 2283353"/>
                <a:gd name="connsiteX3" fmla="*/ 1083989 w 1580681"/>
                <a:gd name="connsiteY3" fmla="*/ 2283353 h 2283353"/>
                <a:gd name="connsiteX4" fmla="*/ 0 w 1580681"/>
                <a:gd name="connsiteY4" fmla="*/ 2283353 h 2283353"/>
                <a:gd name="connsiteX5" fmla="*/ 0 w 1580681"/>
                <a:gd name="connsiteY5" fmla="*/ 38424 h 2283353"/>
                <a:gd name="connsiteX6" fmla="*/ 48692 w 1580681"/>
                <a:gd name="connsiteY6" fmla="*/ 25904 h 2283353"/>
                <a:gd name="connsiteX7" fmla="*/ 305654 w 1580681"/>
                <a:gd name="connsiteY7" fmla="*/ 0 h 228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0681" h="2283353">
                  <a:moveTo>
                    <a:pt x="305654" y="0"/>
                  </a:moveTo>
                  <a:cubicBezTo>
                    <a:pt x="1009832" y="0"/>
                    <a:pt x="1580681" y="570849"/>
                    <a:pt x="1580681" y="1275027"/>
                  </a:cubicBezTo>
                  <a:cubicBezTo>
                    <a:pt x="1580681" y="1671127"/>
                    <a:pt x="1400061" y="2025041"/>
                    <a:pt x="1116690" y="2258900"/>
                  </a:cubicBezTo>
                  <a:lnTo>
                    <a:pt x="1083989" y="2283353"/>
                  </a:lnTo>
                  <a:lnTo>
                    <a:pt x="0" y="2283353"/>
                  </a:lnTo>
                  <a:lnTo>
                    <a:pt x="0" y="38424"/>
                  </a:lnTo>
                  <a:lnTo>
                    <a:pt x="48692" y="25904"/>
                  </a:lnTo>
                  <a:cubicBezTo>
                    <a:pt x="131693" y="8920"/>
                    <a:pt x="217632" y="0"/>
                    <a:pt x="30565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1000"/>
                  </a:schemeClr>
                </a:gs>
                <a:gs pos="88000">
                  <a:schemeClr val="bg1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E0E5DC1-2891-CF93-4F14-EC1BB4EB49BC}"/>
                </a:ext>
              </a:extLst>
            </p:cNvPr>
            <p:cNvSpPr/>
            <p:nvPr userDrawn="1"/>
          </p:nvSpPr>
          <p:spPr>
            <a:xfrm>
              <a:off x="8546686" y="3765692"/>
              <a:ext cx="597314" cy="1176990"/>
            </a:xfrm>
            <a:custGeom>
              <a:avLst/>
              <a:gdLst>
                <a:gd name="connsiteX0" fmla="*/ 588495 w 597314"/>
                <a:gd name="connsiteY0" fmla="*/ 0 h 1176990"/>
                <a:gd name="connsiteX1" fmla="*/ 597314 w 597314"/>
                <a:gd name="connsiteY1" fmla="*/ 889 h 1176990"/>
                <a:gd name="connsiteX2" fmla="*/ 597314 w 597314"/>
                <a:gd name="connsiteY2" fmla="*/ 1176101 h 1176990"/>
                <a:gd name="connsiteX3" fmla="*/ 588495 w 597314"/>
                <a:gd name="connsiteY3" fmla="*/ 1176990 h 1176990"/>
                <a:gd name="connsiteX4" fmla="*/ 0 w 597314"/>
                <a:gd name="connsiteY4" fmla="*/ 588495 h 1176990"/>
                <a:gd name="connsiteX5" fmla="*/ 588495 w 597314"/>
                <a:gd name="connsiteY5" fmla="*/ 0 h 1176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314" h="1176990">
                  <a:moveTo>
                    <a:pt x="588495" y="0"/>
                  </a:moveTo>
                  <a:lnTo>
                    <a:pt x="597314" y="889"/>
                  </a:lnTo>
                  <a:lnTo>
                    <a:pt x="597314" y="1176101"/>
                  </a:lnTo>
                  <a:lnTo>
                    <a:pt x="588495" y="1176990"/>
                  </a:lnTo>
                  <a:cubicBezTo>
                    <a:pt x="263478" y="1176990"/>
                    <a:pt x="0" y="913512"/>
                    <a:pt x="0" y="588495"/>
                  </a:cubicBezTo>
                  <a:cubicBezTo>
                    <a:pt x="0" y="263478"/>
                    <a:pt x="263478" y="0"/>
                    <a:pt x="58849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alpha val="49000"/>
                  </a:schemeClr>
                </a:gs>
                <a:gs pos="100000">
                  <a:schemeClr val="accent1">
                    <a:alpha val="6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3D28A5BC-E4CA-22BB-B265-EF4710092171}"/>
                </a:ext>
              </a:extLst>
            </p:cNvPr>
            <p:cNvSpPr/>
            <p:nvPr userDrawn="1"/>
          </p:nvSpPr>
          <p:spPr>
            <a:xfrm>
              <a:off x="8656040" y="1208170"/>
              <a:ext cx="487961" cy="998762"/>
            </a:xfrm>
            <a:custGeom>
              <a:avLst/>
              <a:gdLst>
                <a:gd name="connsiteX0" fmla="*/ 487961 w 487961"/>
                <a:gd name="connsiteY0" fmla="*/ 0 h 998762"/>
                <a:gd name="connsiteX1" fmla="*/ 487961 w 487961"/>
                <a:gd name="connsiteY1" fmla="*/ 998762 h 998762"/>
                <a:gd name="connsiteX2" fmla="*/ 399760 w 487961"/>
                <a:gd name="connsiteY2" fmla="*/ 989870 h 998762"/>
                <a:gd name="connsiteX3" fmla="*/ 0 w 487961"/>
                <a:gd name="connsiteY3" fmla="*/ 499381 h 998762"/>
                <a:gd name="connsiteX4" fmla="*/ 399760 w 487961"/>
                <a:gd name="connsiteY4" fmla="*/ 8892 h 998762"/>
                <a:gd name="connsiteX5" fmla="*/ 487961 w 487961"/>
                <a:gd name="connsiteY5" fmla="*/ 0 h 99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961" h="998762">
                  <a:moveTo>
                    <a:pt x="487961" y="0"/>
                  </a:moveTo>
                  <a:lnTo>
                    <a:pt x="487961" y="998762"/>
                  </a:lnTo>
                  <a:lnTo>
                    <a:pt x="399760" y="989870"/>
                  </a:lnTo>
                  <a:cubicBezTo>
                    <a:pt x="171618" y="943186"/>
                    <a:pt x="0" y="741325"/>
                    <a:pt x="0" y="499381"/>
                  </a:cubicBezTo>
                  <a:cubicBezTo>
                    <a:pt x="0" y="257437"/>
                    <a:pt x="171618" y="55577"/>
                    <a:pt x="399760" y="8892"/>
                  </a:cubicBezTo>
                  <a:lnTo>
                    <a:pt x="487961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49000"/>
                  </a:schemeClr>
                </a:gs>
                <a:gs pos="100000">
                  <a:schemeClr val="accent1">
                    <a:alpha val="57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800"/>
            </a:p>
          </p:txBody>
        </p: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EFC08BF-2D20-783E-9792-C556ACA4DFF9}"/>
              </a:ext>
            </a:extLst>
          </p:cNvPr>
          <p:cNvSpPr/>
          <p:nvPr userDrawn="1"/>
        </p:nvSpPr>
        <p:spPr>
          <a:xfrm>
            <a:off x="1" y="1"/>
            <a:ext cx="9143999" cy="515152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4E4A0A9F-AE5E-C82A-A137-89D8A5497A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849600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B91651B-6CE0-440B-2526-689403429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58A74F8-11E7-E4EA-6CDB-D89BED18CE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7F7B7BB-A285-93B8-9C81-4F23A5437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090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/>
          <a:srcRect l="6284" t="13773" r="-134" b="14048"/>
          <a:stretch/>
        </p:blipFill>
        <p:spPr>
          <a:xfrm>
            <a:off x="0" y="0"/>
            <a:ext cx="6688547" cy="5144400"/>
          </a:xfrm>
          <a:prstGeom prst="rect">
            <a:avLst/>
          </a:prstGeom>
        </p:spPr>
      </p:pic>
      <p:sp>
        <p:nvSpPr>
          <p:cNvPr id="30" name="Полилиния: фигура 29">
            <a:extLst>
              <a:ext uri="{FF2B5EF4-FFF2-40B4-BE49-F238E27FC236}">
                <a16:creationId xmlns:a16="http://schemas.microsoft.com/office/drawing/2014/main" id="{E58C4314-39B5-E69E-B85D-79F50F925786}"/>
              </a:ext>
            </a:extLst>
          </p:cNvPr>
          <p:cNvSpPr/>
          <p:nvPr userDrawn="1"/>
        </p:nvSpPr>
        <p:spPr>
          <a:xfrm>
            <a:off x="1753908" y="5156200"/>
            <a:ext cx="262" cy="2598"/>
          </a:xfrm>
          <a:custGeom>
            <a:avLst/>
            <a:gdLst>
              <a:gd name="connsiteX0" fmla="*/ 0 w 262"/>
              <a:gd name="connsiteY0" fmla="*/ 0 h 2598"/>
              <a:gd name="connsiteX1" fmla="*/ 262 w 262"/>
              <a:gd name="connsiteY1" fmla="*/ 0 h 2598"/>
              <a:gd name="connsiteX2" fmla="*/ 262 w 262"/>
              <a:gd name="connsiteY2" fmla="*/ 2598 h 2598"/>
              <a:gd name="connsiteX3" fmla="*/ 0 w 262"/>
              <a:gd name="connsiteY3" fmla="*/ 0 h 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" h="2598">
                <a:moveTo>
                  <a:pt x="0" y="0"/>
                </a:moveTo>
                <a:lnTo>
                  <a:pt x="262" y="0"/>
                </a:lnTo>
                <a:lnTo>
                  <a:pt x="262" y="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8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99850D-25AF-8DFE-762E-B4ED687419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680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4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3F295E83-C439-B468-EF0A-89786983BD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Raleway Medium" pitchFamily="2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128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074738"/>
            <a:ext cx="1975104" cy="349300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90417" y="1074738"/>
            <a:ext cx="1975104" cy="349300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829904" y="1074738"/>
            <a:ext cx="1975104" cy="349300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E64FA6-F473-4A30-B276-B4630E307355}"/>
              </a:ext>
            </a:extLst>
          </p:cNvPr>
          <p:cNvCxnSpPr/>
          <p:nvPr userDrawn="1"/>
        </p:nvCxnSpPr>
        <p:spPr bwMode="invGray">
          <a:xfrm>
            <a:off x="2393098" y="1076326"/>
            <a:ext cx="0" cy="349567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0BBC1D-6A56-4B4D-9FCC-B5FD2DA8FE0A}"/>
              </a:ext>
            </a:extLst>
          </p:cNvPr>
          <p:cNvCxnSpPr/>
          <p:nvPr userDrawn="1"/>
        </p:nvCxnSpPr>
        <p:spPr bwMode="invGray">
          <a:xfrm>
            <a:off x="4562840" y="1076326"/>
            <a:ext cx="0" cy="349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4C3338C-CABF-4D14-8545-BBD18F911B01}"/>
              </a:ext>
            </a:extLst>
          </p:cNvPr>
          <p:cNvCxnSpPr/>
          <p:nvPr userDrawn="1"/>
        </p:nvCxnSpPr>
        <p:spPr bwMode="invGray">
          <a:xfrm>
            <a:off x="6732583" y="1076326"/>
            <a:ext cx="0" cy="3495675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656678E-EDE5-4D8F-A429-5F02485F11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4660159" y="1074738"/>
            <a:ext cx="1975104" cy="349300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331F05-4F94-4E6D-EEA2-5F9C7F1A67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C1EA7A0-5A89-6DD7-CBC6-C21CFF139E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2A4CAA3-ED33-85F4-120A-32CAE82CA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19840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>
            <a:extLst>
              <a:ext uri="{FF2B5EF4-FFF2-40B4-BE49-F238E27FC236}">
                <a16:creationId xmlns:a16="http://schemas.microsoft.com/office/drawing/2014/main" id="{1749A1FE-3971-E6FE-BE4D-90F714D4906F}"/>
              </a:ext>
            </a:extLst>
          </p:cNvPr>
          <p:cNvSpPr>
            <a:spLocks noChangeAspect="1"/>
          </p:cNvSpPr>
          <p:nvPr userDrawn="1"/>
        </p:nvSpPr>
        <p:spPr>
          <a:xfrm>
            <a:off x="332728" y="3014000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8AAD963D-0D57-6807-FECA-C5A78A44D883}"/>
              </a:ext>
            </a:extLst>
          </p:cNvPr>
          <p:cNvSpPr>
            <a:spLocks noChangeAspect="1"/>
          </p:cNvSpPr>
          <p:nvPr userDrawn="1"/>
        </p:nvSpPr>
        <p:spPr>
          <a:xfrm>
            <a:off x="4656154" y="1074738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22480454-DC00-AAF2-22AF-A7F52D35C7E7}"/>
              </a:ext>
            </a:extLst>
          </p:cNvPr>
          <p:cNvSpPr>
            <a:spLocks noChangeAspect="1"/>
          </p:cNvSpPr>
          <p:nvPr userDrawn="1"/>
        </p:nvSpPr>
        <p:spPr>
          <a:xfrm>
            <a:off x="4656154" y="3014000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0857D5C4-688C-3E83-EBBB-0070B9F1FFCB}"/>
              </a:ext>
            </a:extLst>
          </p:cNvPr>
          <p:cNvSpPr>
            <a:spLocks noChangeAspect="1"/>
          </p:cNvSpPr>
          <p:nvPr userDrawn="1"/>
        </p:nvSpPr>
        <p:spPr>
          <a:xfrm>
            <a:off x="312998" y="1074738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349373" y="1074738"/>
            <a:ext cx="3108960" cy="155448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5692529" y="1074738"/>
            <a:ext cx="3108960" cy="155448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1349373" y="3014000"/>
            <a:ext cx="3108960" cy="155448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5692529" y="3014000"/>
            <a:ext cx="3108960" cy="155448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D219C71-7DFD-48A6-947F-3615F84EA79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73216" y="1316495"/>
            <a:ext cx="193964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FEC8A96-BE1D-46F4-B8D3-62353455082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91344" y="3255757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D18C644-4CF1-429A-9B90-F7ED19A34A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014770" y="1316495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7BF248C-7C12-48A0-9663-31D29549B2F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5016373" y="3255757"/>
            <a:ext cx="193963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7D67294-4122-0BE3-C9C8-B375B829C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E4DE037-45AC-0EE8-CE31-895E7BC8EB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220A607-EE4F-DE27-BDB4-3846058C3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048222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>
            <a:extLst>
              <a:ext uri="{FF2B5EF4-FFF2-40B4-BE49-F238E27FC236}">
                <a16:creationId xmlns:a16="http://schemas.microsoft.com/office/drawing/2014/main" id="{E48C7333-7089-65CD-A56A-669B392C9189}"/>
              </a:ext>
            </a:extLst>
          </p:cNvPr>
          <p:cNvSpPr>
            <a:spLocks noChangeAspect="1"/>
          </p:cNvSpPr>
          <p:nvPr userDrawn="1"/>
        </p:nvSpPr>
        <p:spPr>
          <a:xfrm>
            <a:off x="332729" y="1984878"/>
            <a:ext cx="779099" cy="779099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45DB038-F51C-7695-604B-9831F7F4B5B6}"/>
              </a:ext>
            </a:extLst>
          </p:cNvPr>
          <p:cNvSpPr>
            <a:spLocks noChangeAspect="1"/>
          </p:cNvSpPr>
          <p:nvPr userDrawn="1"/>
        </p:nvSpPr>
        <p:spPr>
          <a:xfrm>
            <a:off x="332729" y="3792902"/>
            <a:ext cx="779099" cy="779099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4C05FFD2-2D31-7D9F-285D-68BDD2ED60C4}"/>
              </a:ext>
            </a:extLst>
          </p:cNvPr>
          <p:cNvSpPr>
            <a:spLocks noChangeAspect="1"/>
          </p:cNvSpPr>
          <p:nvPr userDrawn="1"/>
        </p:nvSpPr>
        <p:spPr>
          <a:xfrm>
            <a:off x="332729" y="2888890"/>
            <a:ext cx="779099" cy="779099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8E7C8948-4A10-CA47-28D5-C72076604D58}"/>
              </a:ext>
            </a:extLst>
          </p:cNvPr>
          <p:cNvSpPr>
            <a:spLocks noChangeAspect="1"/>
          </p:cNvSpPr>
          <p:nvPr userDrawn="1"/>
        </p:nvSpPr>
        <p:spPr>
          <a:xfrm>
            <a:off x="332729" y="1077803"/>
            <a:ext cx="779099" cy="779099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5D7A6A0-17BF-4668-B1DB-1152BB7616D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25296" y="1251908"/>
            <a:ext cx="193964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EC47592-CDD0-4868-BD9F-72EDB7CC83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23693" y="2158984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7B62DC-86F4-4502-9466-F3A722AEC6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623693" y="3062996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27B0307-EDD1-461D-87F5-849AAABA7B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625297" y="3967007"/>
            <a:ext cx="193963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F762FAA-9C21-4066-9192-FC1DE4FEAB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266092" y="1078731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2EFFB73-47C6-4A28-BD0B-C885575AE15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1266092" y="1984074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03CF380-C024-4E2C-8056-0E78DD8C93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invGray">
          <a:xfrm>
            <a:off x="1266092" y="2889417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53462861-EF4E-4EFC-8601-5C62CE30AB6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1266092" y="3793830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67DFA3-3DCC-105B-144F-EA4E208239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6AF563-CE80-8926-4FCE-6FE6C81704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7B26F7-1C9D-F69C-C55D-C21B876E4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467440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863FB3A0-AAAC-4191-B457-22FBE9D6EC4E}"/>
              </a:ext>
            </a:extLst>
          </p:cNvPr>
          <p:cNvSpPr txBox="1"/>
          <p:nvPr userDrawn="1"/>
        </p:nvSpPr>
        <p:spPr bwMode="invGray">
          <a:xfrm>
            <a:off x="323851" y="1080468"/>
            <a:ext cx="4160520" cy="548640"/>
          </a:xfrm>
          <a:prstGeom prst="rect">
            <a:avLst/>
          </a:prstGeom>
          <a:solidFill>
            <a:schemeClr val="bg2"/>
          </a:soli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644FCC-2D7D-4A92-A351-05D1EECE4B58}"/>
              </a:ext>
            </a:extLst>
          </p:cNvPr>
          <p:cNvSpPr txBox="1"/>
          <p:nvPr userDrawn="1"/>
        </p:nvSpPr>
        <p:spPr bwMode="invGray">
          <a:xfrm>
            <a:off x="4644488" y="1080468"/>
            <a:ext cx="4160520" cy="548640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ED1562F-7727-42AD-B83F-B500F206D1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4644488" y="1080468"/>
            <a:ext cx="4160520" cy="548640"/>
          </a:xfrm>
        </p:spPr>
        <p:txBody>
          <a:bodyPr lIns="91440" tIns="45720" rIns="91440" bIns="4572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1AD75614-E53F-4AA5-8BD7-EF0EB52F42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3851" y="1080468"/>
            <a:ext cx="4160520" cy="548640"/>
          </a:xfrm>
          <a:solidFill>
            <a:schemeClr val="accent1"/>
          </a:solidFill>
        </p:spPr>
        <p:txBody>
          <a:bodyPr lIns="91440" tIns="45720" rIns="91440" bIns="4572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714501"/>
            <a:ext cx="4160520" cy="285292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4644488" y="1714501"/>
            <a:ext cx="4160520" cy="2852928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32DBAD-AFD2-06FD-E742-A9A37D63D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280671C7-C089-BF41-A222-EE8B1ACF9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59BDCC-ACA3-B66E-F470-1FD71C569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4431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>
            <a:extLst>
              <a:ext uri="{FF2B5EF4-FFF2-40B4-BE49-F238E27FC236}">
                <a16:creationId xmlns:a16="http://schemas.microsoft.com/office/drawing/2014/main" id="{B64855C0-3088-306D-6F78-24EDCBF80136}"/>
              </a:ext>
            </a:extLst>
          </p:cNvPr>
          <p:cNvSpPr>
            <a:spLocks noChangeAspect="1"/>
          </p:cNvSpPr>
          <p:nvPr userDrawn="1"/>
        </p:nvSpPr>
        <p:spPr>
          <a:xfrm>
            <a:off x="4669490" y="1101556"/>
            <a:ext cx="914401" cy="91440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05AB3B8A-B959-149E-458D-AA34DC45ED48}"/>
              </a:ext>
            </a:extLst>
          </p:cNvPr>
          <p:cNvSpPr>
            <a:spLocks noChangeAspect="1"/>
          </p:cNvSpPr>
          <p:nvPr userDrawn="1"/>
        </p:nvSpPr>
        <p:spPr>
          <a:xfrm>
            <a:off x="340403" y="1072248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71761-1385-4F8B-99E0-968B9C3EC3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402129" y="1652955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78D1D2F-1CF6-41FD-9735-9990D3D902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invGray">
          <a:xfrm>
            <a:off x="1402129" y="1074738"/>
            <a:ext cx="3072384" cy="50787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5C714B7-D051-4A10-9F71-625D90671E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invGray">
          <a:xfrm>
            <a:off x="5731216" y="1652955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4E246567-4A4A-470F-B439-18388B24BB9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invGray">
          <a:xfrm>
            <a:off x="5731216" y="1074738"/>
            <a:ext cx="3072384" cy="50787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431687D-F746-4CC0-A749-0A90B9472E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40048" y="1439250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0883FF7-9702-4473-8FF2-A940DC42E30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invGray">
          <a:xfrm>
            <a:off x="4966648" y="1439606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472688-AD60-4C32-D203-565CFCEC6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D5A386-71F4-9E7D-C42C-D974B9F4B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394F17-F140-CDF7-BFCF-473B4B0725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777628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вал 6">
            <a:extLst>
              <a:ext uri="{FF2B5EF4-FFF2-40B4-BE49-F238E27FC236}">
                <a16:creationId xmlns:a16="http://schemas.microsoft.com/office/drawing/2014/main" id="{BA9744A8-5052-652E-88DC-18CE073B8FC8}"/>
              </a:ext>
            </a:extLst>
          </p:cNvPr>
          <p:cNvSpPr>
            <a:spLocks noChangeAspect="1"/>
          </p:cNvSpPr>
          <p:nvPr userDrawn="1"/>
        </p:nvSpPr>
        <p:spPr>
          <a:xfrm>
            <a:off x="332434" y="1617784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673CC82D-B94F-C2A3-E517-945444D59B47}"/>
              </a:ext>
            </a:extLst>
          </p:cNvPr>
          <p:cNvSpPr>
            <a:spLocks noChangeAspect="1"/>
          </p:cNvSpPr>
          <p:nvPr userDrawn="1"/>
        </p:nvSpPr>
        <p:spPr>
          <a:xfrm>
            <a:off x="4671880" y="1617784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80E6E424-0D84-B8D6-D128-219C470838CA}"/>
              </a:ext>
            </a:extLst>
          </p:cNvPr>
          <p:cNvSpPr>
            <a:spLocks noChangeAspect="1"/>
          </p:cNvSpPr>
          <p:nvPr userDrawn="1"/>
        </p:nvSpPr>
        <p:spPr>
          <a:xfrm>
            <a:off x="332434" y="3648810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5F1BF943-5925-84A0-3DC4-4DBA8FA9C9B7}"/>
              </a:ext>
            </a:extLst>
          </p:cNvPr>
          <p:cNvSpPr>
            <a:spLocks noChangeAspect="1"/>
          </p:cNvSpPr>
          <p:nvPr userDrawn="1"/>
        </p:nvSpPr>
        <p:spPr>
          <a:xfrm>
            <a:off x="4671880" y="3648810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A45BACEC-9B80-0F85-074F-E8F58344703C}"/>
              </a:ext>
            </a:extLst>
          </p:cNvPr>
          <p:cNvSpPr>
            <a:spLocks noChangeAspect="1"/>
          </p:cNvSpPr>
          <p:nvPr userDrawn="1"/>
        </p:nvSpPr>
        <p:spPr>
          <a:xfrm>
            <a:off x="4671880" y="2633297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21B32E60-F09F-6358-6D00-7DA6E32D5785}"/>
              </a:ext>
            </a:extLst>
          </p:cNvPr>
          <p:cNvSpPr>
            <a:spLocks noChangeAspect="1"/>
          </p:cNvSpPr>
          <p:nvPr userDrawn="1"/>
        </p:nvSpPr>
        <p:spPr>
          <a:xfrm>
            <a:off x="332434" y="2633297"/>
            <a:ext cx="914400" cy="9144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A928ED84-7A49-4862-BEAE-26655C61FF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511747" y="1982652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D86F44B-927D-45F9-B0F8-12971191442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520330" y="2998164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D4CCDE1-9A12-4E71-91A0-C086E94A12C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11747" y="4013678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FD6443-4873-4FD2-A44B-75D2F65DFE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1380392" y="1080468"/>
            <a:ext cx="3108960" cy="457200"/>
          </a:xfrm>
        </p:spPr>
        <p:txBody>
          <a:bodyPr lIns="0" tIns="0" rIns="0" bIns="0" anchor="t"/>
          <a:lstStyle>
            <a:lvl1pPr marL="0" indent="0" algn="l">
              <a:buNone/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465BC5F-0FDA-4FAF-B829-BE36F8384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377216" y="1617784"/>
            <a:ext cx="3112136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72B57244-34E1-4D4E-BC3F-DA97EE6A0C7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1377216" y="2633297"/>
            <a:ext cx="3112136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A9BD519-8AC3-4B0A-A46D-CA604EED86F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1377216" y="3648810"/>
            <a:ext cx="3112136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097B0B3E-3C6C-4A63-86FE-2CD17083A07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invGray">
          <a:xfrm>
            <a:off x="4827403" y="1982652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01FB5F-38F7-49F3-9FC5-121C5D58D57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4859776" y="2998164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463556-916F-4946-B18E-76F98E8B74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invGray">
          <a:xfrm>
            <a:off x="4827403" y="4013678"/>
            <a:ext cx="538610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7550C26B-0501-4388-9887-63FDE0D22C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invGray">
          <a:xfrm>
            <a:off x="5696047" y="1080468"/>
            <a:ext cx="3128845" cy="457200"/>
          </a:xfrm>
        </p:spPr>
        <p:txBody>
          <a:bodyPr lIns="0" tIns="0" rIns="0" bIns="0" anchor="t"/>
          <a:lstStyle>
            <a:lvl1pPr marL="0" indent="0" algn="l">
              <a:buNone/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521E56C-E85D-4D25-AEEA-02E586184A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invGray">
          <a:xfrm>
            <a:off x="5692871" y="1617784"/>
            <a:ext cx="3132041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955E9A9-80A2-4F02-B594-AADA02FE063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invGray">
          <a:xfrm>
            <a:off x="5692871" y="2633297"/>
            <a:ext cx="3132041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C1F76ED5-4BF3-46CC-A650-BC77DB17084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invGray">
          <a:xfrm>
            <a:off x="5692871" y="3648810"/>
            <a:ext cx="3132041" cy="914400"/>
          </a:xfrm>
        </p:spPr>
        <p:txBody>
          <a:bodyPr lIns="0" tIns="0" rIns="0" bIns="0" anchor="t"/>
          <a:lstStyle>
            <a:lvl1pPr marL="182876" indent="-182876" algn="l">
              <a:buFont typeface="Arial" panose="020B0604020202020204" pitchFamily="34" charset="0"/>
              <a:buChar char="•"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B13444A-4973-094A-F3DD-EE14EACFFA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3466A0-A9FB-2CBA-0630-8392FD0C7A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16C474-DF80-377F-C73C-8724E91208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748103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itl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10B841B-00EE-9DF0-E827-9465B86C47D0}"/>
              </a:ext>
            </a:extLst>
          </p:cNvPr>
          <p:cNvGrpSpPr/>
          <p:nvPr userDrawn="1"/>
        </p:nvGrpSpPr>
        <p:grpSpPr>
          <a:xfrm>
            <a:off x="3498328" y="1740792"/>
            <a:ext cx="2125160" cy="2125158"/>
            <a:chOff x="3628679" y="-1571428"/>
            <a:chExt cx="2329909" cy="2329907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C7A4E03D-D0E9-DF81-DD79-F66EBF4BCE69}"/>
                </a:ext>
              </a:extLst>
            </p:cNvPr>
            <p:cNvSpPr/>
            <p:nvPr/>
          </p:nvSpPr>
          <p:spPr>
            <a:xfrm rot="16200000">
              <a:off x="4830453" y="-1571429"/>
              <a:ext cx="1128134" cy="1128135"/>
            </a:xfrm>
            <a:custGeom>
              <a:avLst/>
              <a:gdLst>
                <a:gd name="connsiteX0" fmla="*/ 1128134 w 1128134"/>
                <a:gd name="connsiteY0" fmla="*/ 0 h 1128135"/>
                <a:gd name="connsiteX1" fmla="*/ 1123970 w 1128134"/>
                <a:gd name="connsiteY1" fmla="*/ 82481 h 1128135"/>
                <a:gd name="connsiteX2" fmla="*/ 82480 w 1128134"/>
                <a:gd name="connsiteY2" fmla="*/ 1123970 h 1128135"/>
                <a:gd name="connsiteX3" fmla="*/ 0 w 1128134"/>
                <a:gd name="connsiteY3" fmla="*/ 1128135 h 1128135"/>
                <a:gd name="connsiteX4" fmla="*/ 0 w 1128134"/>
                <a:gd name="connsiteY4" fmla="*/ 667723 h 1128135"/>
                <a:gd name="connsiteX5" fmla="*/ 105918 w 1128134"/>
                <a:gd name="connsiteY5" fmla="*/ 657046 h 1128135"/>
                <a:gd name="connsiteX6" fmla="*/ 657047 w 1128134"/>
                <a:gd name="connsiteY6" fmla="*/ 105918 h 1128135"/>
                <a:gd name="connsiteX7" fmla="*/ 667724 w 1128134"/>
                <a:gd name="connsiteY7" fmla="*/ 0 h 1128135"/>
                <a:gd name="connsiteX8" fmla="*/ 1128134 w 1128134"/>
                <a:gd name="connsiteY8" fmla="*/ 0 h 112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134" h="1128135">
                  <a:moveTo>
                    <a:pt x="1128134" y="0"/>
                  </a:moveTo>
                  <a:lnTo>
                    <a:pt x="1123970" y="82481"/>
                  </a:lnTo>
                  <a:cubicBezTo>
                    <a:pt x="1068200" y="631628"/>
                    <a:pt x="631628" y="1068201"/>
                    <a:pt x="82480" y="1123970"/>
                  </a:cubicBezTo>
                  <a:lnTo>
                    <a:pt x="0" y="1128135"/>
                  </a:lnTo>
                  <a:lnTo>
                    <a:pt x="0" y="667723"/>
                  </a:lnTo>
                  <a:lnTo>
                    <a:pt x="105918" y="657046"/>
                  </a:lnTo>
                  <a:cubicBezTo>
                    <a:pt x="382552" y="600438"/>
                    <a:pt x="600439" y="382552"/>
                    <a:pt x="657047" y="105918"/>
                  </a:cubicBezTo>
                  <a:lnTo>
                    <a:pt x="667724" y="0"/>
                  </a:lnTo>
                  <a:lnTo>
                    <a:pt x="1128134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800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A0492C62-B444-E317-AC5F-1E4ACBD27486}"/>
                </a:ext>
              </a:extLst>
            </p:cNvPr>
            <p:cNvSpPr/>
            <p:nvPr/>
          </p:nvSpPr>
          <p:spPr>
            <a:xfrm rot="16200000">
              <a:off x="3628680" y="-1571428"/>
              <a:ext cx="1128133" cy="1128133"/>
            </a:xfrm>
            <a:custGeom>
              <a:avLst/>
              <a:gdLst>
                <a:gd name="connsiteX0" fmla="*/ 1128133 w 1128133"/>
                <a:gd name="connsiteY0" fmla="*/ 1128133 h 1128133"/>
                <a:gd name="connsiteX1" fmla="*/ 667723 w 1128133"/>
                <a:gd name="connsiteY1" fmla="*/ 1128133 h 1128133"/>
                <a:gd name="connsiteX2" fmla="*/ 657046 w 1128133"/>
                <a:gd name="connsiteY2" fmla="*/ 1022215 h 1128133"/>
                <a:gd name="connsiteX3" fmla="*/ 105918 w 1128133"/>
                <a:gd name="connsiteY3" fmla="*/ 471087 h 1128133"/>
                <a:gd name="connsiteX4" fmla="*/ 0 w 1128133"/>
                <a:gd name="connsiteY4" fmla="*/ 460409 h 1128133"/>
                <a:gd name="connsiteX5" fmla="*/ 0 w 1128133"/>
                <a:gd name="connsiteY5" fmla="*/ 0 h 1128133"/>
                <a:gd name="connsiteX6" fmla="*/ 82480 w 1128133"/>
                <a:gd name="connsiteY6" fmla="*/ 4165 h 1128133"/>
                <a:gd name="connsiteX7" fmla="*/ 1123969 w 1128133"/>
                <a:gd name="connsiteY7" fmla="*/ 1045654 h 1128133"/>
                <a:gd name="connsiteX8" fmla="*/ 1128133 w 1128133"/>
                <a:gd name="connsiteY8" fmla="*/ 1128133 h 1128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133" h="1128133">
                  <a:moveTo>
                    <a:pt x="1128133" y="1128133"/>
                  </a:moveTo>
                  <a:lnTo>
                    <a:pt x="667723" y="1128133"/>
                  </a:lnTo>
                  <a:lnTo>
                    <a:pt x="657046" y="1022215"/>
                  </a:lnTo>
                  <a:cubicBezTo>
                    <a:pt x="600438" y="745581"/>
                    <a:pt x="382551" y="527694"/>
                    <a:pt x="105918" y="471087"/>
                  </a:cubicBezTo>
                  <a:lnTo>
                    <a:pt x="0" y="460409"/>
                  </a:lnTo>
                  <a:lnTo>
                    <a:pt x="0" y="0"/>
                  </a:lnTo>
                  <a:lnTo>
                    <a:pt x="82480" y="4165"/>
                  </a:lnTo>
                  <a:cubicBezTo>
                    <a:pt x="631627" y="59934"/>
                    <a:pt x="1068199" y="496506"/>
                    <a:pt x="1123969" y="1045654"/>
                  </a:cubicBezTo>
                  <a:lnTo>
                    <a:pt x="1128133" y="1128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800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812F7181-D16E-03E2-B275-6B327B2D124D}"/>
                </a:ext>
              </a:extLst>
            </p:cNvPr>
            <p:cNvSpPr/>
            <p:nvPr/>
          </p:nvSpPr>
          <p:spPr>
            <a:xfrm rot="16200000">
              <a:off x="3628679" y="-369655"/>
              <a:ext cx="1128134" cy="1128133"/>
            </a:xfrm>
            <a:custGeom>
              <a:avLst/>
              <a:gdLst>
                <a:gd name="connsiteX0" fmla="*/ 1128134 w 1128134"/>
                <a:gd name="connsiteY0" fmla="*/ 0 h 1128133"/>
                <a:gd name="connsiteX1" fmla="*/ 1128134 w 1128134"/>
                <a:gd name="connsiteY1" fmla="*/ 460409 h 1128133"/>
                <a:gd name="connsiteX2" fmla="*/ 1022216 w 1128134"/>
                <a:gd name="connsiteY2" fmla="*/ 471087 h 1128133"/>
                <a:gd name="connsiteX3" fmla="*/ 471087 w 1128134"/>
                <a:gd name="connsiteY3" fmla="*/ 1022215 h 1128133"/>
                <a:gd name="connsiteX4" fmla="*/ 460410 w 1128134"/>
                <a:gd name="connsiteY4" fmla="*/ 1128133 h 1128133"/>
                <a:gd name="connsiteX5" fmla="*/ 0 w 1128134"/>
                <a:gd name="connsiteY5" fmla="*/ 1128133 h 1128133"/>
                <a:gd name="connsiteX6" fmla="*/ 4164 w 1128134"/>
                <a:gd name="connsiteY6" fmla="*/ 1045654 h 1128133"/>
                <a:gd name="connsiteX7" fmla="*/ 1045654 w 1128134"/>
                <a:gd name="connsiteY7" fmla="*/ 4165 h 1128133"/>
                <a:gd name="connsiteX8" fmla="*/ 1128134 w 1128134"/>
                <a:gd name="connsiteY8" fmla="*/ 0 h 1128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134" h="1128133">
                  <a:moveTo>
                    <a:pt x="1128134" y="0"/>
                  </a:moveTo>
                  <a:lnTo>
                    <a:pt x="1128134" y="460409"/>
                  </a:lnTo>
                  <a:lnTo>
                    <a:pt x="1022216" y="471087"/>
                  </a:lnTo>
                  <a:cubicBezTo>
                    <a:pt x="745582" y="527694"/>
                    <a:pt x="527695" y="745581"/>
                    <a:pt x="471087" y="1022215"/>
                  </a:cubicBezTo>
                  <a:lnTo>
                    <a:pt x="460410" y="1128133"/>
                  </a:lnTo>
                  <a:lnTo>
                    <a:pt x="0" y="1128133"/>
                  </a:lnTo>
                  <a:lnTo>
                    <a:pt x="4164" y="1045654"/>
                  </a:lnTo>
                  <a:cubicBezTo>
                    <a:pt x="59934" y="496506"/>
                    <a:pt x="496506" y="59934"/>
                    <a:pt x="1045654" y="4165"/>
                  </a:cubicBezTo>
                  <a:lnTo>
                    <a:pt x="1128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800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596BFB89-F43E-CBBE-17E2-C9B0EE07FD20}"/>
                </a:ext>
              </a:extLst>
            </p:cNvPr>
            <p:cNvSpPr/>
            <p:nvPr/>
          </p:nvSpPr>
          <p:spPr>
            <a:xfrm rot="16200000">
              <a:off x="4830454" y="-369655"/>
              <a:ext cx="1128133" cy="1128135"/>
            </a:xfrm>
            <a:custGeom>
              <a:avLst/>
              <a:gdLst>
                <a:gd name="connsiteX0" fmla="*/ 1128133 w 1128133"/>
                <a:gd name="connsiteY0" fmla="*/ 667723 h 1128135"/>
                <a:gd name="connsiteX1" fmla="*/ 1128133 w 1128133"/>
                <a:gd name="connsiteY1" fmla="*/ 1128135 h 1128135"/>
                <a:gd name="connsiteX2" fmla="*/ 1045653 w 1128133"/>
                <a:gd name="connsiteY2" fmla="*/ 1123970 h 1128135"/>
                <a:gd name="connsiteX3" fmla="*/ 4164 w 1128133"/>
                <a:gd name="connsiteY3" fmla="*/ 82481 h 1128135"/>
                <a:gd name="connsiteX4" fmla="*/ 0 w 1128133"/>
                <a:gd name="connsiteY4" fmla="*/ 0 h 1128135"/>
                <a:gd name="connsiteX5" fmla="*/ 460410 w 1128133"/>
                <a:gd name="connsiteY5" fmla="*/ 0 h 1128135"/>
                <a:gd name="connsiteX6" fmla="*/ 471087 w 1128133"/>
                <a:gd name="connsiteY6" fmla="*/ 105918 h 1128135"/>
                <a:gd name="connsiteX7" fmla="*/ 1022215 w 1128133"/>
                <a:gd name="connsiteY7" fmla="*/ 657046 h 1128135"/>
                <a:gd name="connsiteX8" fmla="*/ 1128133 w 1128133"/>
                <a:gd name="connsiteY8" fmla="*/ 667723 h 112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133" h="1128135">
                  <a:moveTo>
                    <a:pt x="1128133" y="667723"/>
                  </a:moveTo>
                  <a:lnTo>
                    <a:pt x="1128133" y="1128135"/>
                  </a:lnTo>
                  <a:lnTo>
                    <a:pt x="1045653" y="1123970"/>
                  </a:lnTo>
                  <a:cubicBezTo>
                    <a:pt x="496506" y="1068201"/>
                    <a:pt x="59934" y="631628"/>
                    <a:pt x="4164" y="82481"/>
                  </a:cubicBezTo>
                  <a:lnTo>
                    <a:pt x="0" y="0"/>
                  </a:lnTo>
                  <a:lnTo>
                    <a:pt x="460410" y="0"/>
                  </a:lnTo>
                  <a:lnTo>
                    <a:pt x="471087" y="105918"/>
                  </a:lnTo>
                  <a:cubicBezTo>
                    <a:pt x="527695" y="382552"/>
                    <a:pt x="745582" y="600438"/>
                    <a:pt x="1022215" y="657046"/>
                  </a:cubicBezTo>
                  <a:lnTo>
                    <a:pt x="1128133" y="66772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800"/>
            </a:p>
          </p:txBody>
        </p:sp>
      </p:grp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686D3A1-D555-4836-BDB4-AA547069B54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3894184" y="2001571"/>
            <a:ext cx="165911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DE9DF25D-2CC5-43CE-8BB0-FF8BA97B26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3973750" y="2473367"/>
            <a:ext cx="1174314" cy="660010"/>
          </a:xfr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04C66A7-2AC5-4BB4-AA67-9FEE4F39051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3892984" y="3228229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2ADA71F5-7129-400C-B0DF-AC357FF32F3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5062762" y="2001571"/>
            <a:ext cx="166713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728EC26-22D9-446A-858E-1380646BEC8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5061961" y="3228229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28C6B8-C454-4F13-B085-2826A6470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441939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59DE835B-E0E7-4904-B71F-7A45A531F3E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invGray">
          <a:xfrm>
            <a:off x="320675" y="1074739"/>
            <a:ext cx="3017520" cy="349616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FFE36F5A-6540-404B-BAC3-45490143A4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invGray">
          <a:xfrm>
            <a:off x="320675" y="3253154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37E674A5-D356-4589-8349-70F08635D01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invGray">
          <a:xfrm>
            <a:off x="320675" y="2885953"/>
            <a:ext cx="3017520" cy="349616"/>
          </a:xfrm>
        </p:spPr>
        <p:txBody>
          <a:bodyPr lIns="0" tIns="0" rIns="0" bIns="0" anchor="ctr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400" b="1">
                <a:solidFill>
                  <a:srgbClr val="D4056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C34FA53B-F531-4886-B345-0ECF29DACF5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invGray">
          <a:xfrm>
            <a:off x="5787488" y="1441939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94B3C364-5411-4916-A935-D899A61821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invGray">
          <a:xfrm>
            <a:off x="5787488" y="1074739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704B853-92BC-4755-8429-4E8BF0F6725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invGray">
          <a:xfrm>
            <a:off x="5787488" y="3253154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10F7BB3B-070D-44D0-8532-22A766ECACC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invGray">
          <a:xfrm>
            <a:off x="5787488" y="2885953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 b="1">
                <a:solidFill>
                  <a:srgbClr val="EF392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50F8A-0F2E-E931-52B8-835816DBD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35E9EA7-9872-FAB3-6ABC-5A5ABED270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E59B7E9-A7E4-77AD-A378-75DAC64FD0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401369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60A106C-7E83-4E97-8AE0-90E2885456BF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320676" y="2824163"/>
            <a:ext cx="8493125" cy="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B0A45B7-0313-483B-AE78-7E39674CD89A}"/>
              </a:ext>
            </a:extLst>
          </p:cNvPr>
          <p:cNvCxnSpPr/>
          <p:nvPr userDrawn="1"/>
        </p:nvCxnSpPr>
        <p:spPr bwMode="invGray">
          <a:xfrm>
            <a:off x="2399194" y="1076326"/>
            <a:ext cx="0" cy="34956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7F9E84B-B0C7-4FEB-B8C8-B5137DF9BA2F}"/>
              </a:ext>
            </a:extLst>
          </p:cNvPr>
          <p:cNvCxnSpPr/>
          <p:nvPr userDrawn="1"/>
        </p:nvCxnSpPr>
        <p:spPr bwMode="invGray">
          <a:xfrm>
            <a:off x="4562840" y="1076326"/>
            <a:ext cx="0" cy="34956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6746778-1213-402F-A56D-B7A31D93C456}"/>
              </a:ext>
            </a:extLst>
          </p:cNvPr>
          <p:cNvCxnSpPr/>
          <p:nvPr userDrawn="1"/>
        </p:nvCxnSpPr>
        <p:spPr bwMode="invGray">
          <a:xfrm>
            <a:off x="6726487" y="1076326"/>
            <a:ext cx="0" cy="34956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84321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4647967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320675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2484322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621D659-92B1-4C6E-BA9E-340B7DE5A1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4647969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4D45D0F-ACD9-4F42-B26B-D669974F0A3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811616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C0D2291-4990-48EB-AB3C-41113664CF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811616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0E0857-D945-D428-91CD-C65B8424D9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FC96C53-3AFC-B3C1-8D0D-58D00C468D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A0DFEBF-55A3-240D-A697-5AE6B33F6F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673214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1C8E54-5D7D-A67B-2E72-E54DEE1BCA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0676" y="1074738"/>
            <a:ext cx="1893094" cy="2823424"/>
          </a:xfrm>
          <a:solidFill>
            <a:schemeClr val="bg1"/>
          </a:solidFill>
        </p:spPr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7ACA4E5-7DD7-AED6-5846-3BF46D2A507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521514" y="1074738"/>
            <a:ext cx="1893094" cy="2823424"/>
          </a:xfrm>
          <a:solidFill>
            <a:schemeClr val="bg1"/>
          </a:solidFill>
        </p:spPr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4BF1C3C7-D87F-7ECB-9AF4-46233B732BE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2351" y="1074738"/>
            <a:ext cx="1893094" cy="2823424"/>
          </a:xfrm>
          <a:solidFill>
            <a:schemeClr val="bg1"/>
          </a:solidFill>
        </p:spPr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5C731AA4-9A12-C00C-0F18-1100125CCC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3190" y="1074738"/>
            <a:ext cx="1893094" cy="2823424"/>
          </a:xfrm>
          <a:solidFill>
            <a:schemeClr val="bg1"/>
          </a:solidFill>
        </p:spPr>
      </p:sp>
      <p:sp>
        <p:nvSpPr>
          <p:cNvPr id="8" name="Rounded Rectangle 22">
            <a:extLst>
              <a:ext uri="{FF2B5EF4-FFF2-40B4-BE49-F238E27FC236}">
                <a16:creationId xmlns:a16="http://schemas.microsoft.com/office/drawing/2014/main" id="{E1591E9B-F7BC-A348-3419-CB4AD1B1C661}"/>
              </a:ext>
            </a:extLst>
          </p:cNvPr>
          <p:cNvSpPr/>
          <p:nvPr userDrawn="1"/>
        </p:nvSpPr>
        <p:spPr>
          <a:xfrm>
            <a:off x="320676" y="3898162"/>
            <a:ext cx="1893094" cy="67383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Roboto Condensed Light" panose="02000000000000000000" pitchFamily="2" charset="0"/>
                <a:cs typeface="Segoe UI" panose="020B0502040204020203" pitchFamily="34" charset="0"/>
              </a:rPr>
              <a:t>Текст</a:t>
            </a:r>
            <a:endParaRPr lang="en-US" sz="1400" b="1" dirty="0">
              <a:solidFill>
                <a:schemeClr val="bg1"/>
              </a:solidFill>
              <a:latin typeface="Segoe UI" panose="020B0502040204020203" pitchFamily="34" charset="0"/>
              <a:ea typeface="Roboto Condensed Light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9" name="Rounded Rectangle 24">
            <a:extLst>
              <a:ext uri="{FF2B5EF4-FFF2-40B4-BE49-F238E27FC236}">
                <a16:creationId xmlns:a16="http://schemas.microsoft.com/office/drawing/2014/main" id="{FD7F3464-5ED8-85E2-E3A7-197317C5B3E2}"/>
              </a:ext>
            </a:extLst>
          </p:cNvPr>
          <p:cNvSpPr/>
          <p:nvPr userDrawn="1"/>
        </p:nvSpPr>
        <p:spPr>
          <a:xfrm>
            <a:off x="2521514" y="3898162"/>
            <a:ext cx="1893094" cy="673838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Roboto Condensed Light" panose="02000000000000000000" pitchFamily="2" charset="0"/>
                <a:cs typeface="Segoe UI" panose="020B0502040204020203" pitchFamily="34" charset="0"/>
              </a:rPr>
              <a:t>Текст</a:t>
            </a:r>
            <a:endParaRPr lang="en-US" sz="1400" b="1" dirty="0">
              <a:solidFill>
                <a:schemeClr val="bg1"/>
              </a:solidFill>
              <a:latin typeface="Segoe UI" panose="020B0502040204020203" pitchFamily="34" charset="0"/>
              <a:ea typeface="Roboto Condensed Light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0" name="Rounded Rectangle 25">
            <a:extLst>
              <a:ext uri="{FF2B5EF4-FFF2-40B4-BE49-F238E27FC236}">
                <a16:creationId xmlns:a16="http://schemas.microsoft.com/office/drawing/2014/main" id="{7A6F1B00-8840-C22B-20F6-971CD7A0F55A}"/>
              </a:ext>
            </a:extLst>
          </p:cNvPr>
          <p:cNvSpPr/>
          <p:nvPr userDrawn="1"/>
        </p:nvSpPr>
        <p:spPr>
          <a:xfrm>
            <a:off x="4722351" y="3898162"/>
            <a:ext cx="1893094" cy="673838"/>
          </a:xfrm>
          <a:prstGeom prst="rect">
            <a:avLst/>
          </a:prstGeom>
          <a:solidFill>
            <a:srgbClr val="EF392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Roboto Condensed Light" panose="02000000000000000000" pitchFamily="2" charset="0"/>
                <a:cs typeface="Segoe UI" panose="020B0502040204020203" pitchFamily="34" charset="0"/>
              </a:rPr>
              <a:t>Текст</a:t>
            </a:r>
            <a:endParaRPr lang="en-US" sz="1400" b="1" dirty="0">
              <a:solidFill>
                <a:schemeClr val="bg1"/>
              </a:solidFill>
              <a:latin typeface="Segoe UI" panose="020B0502040204020203" pitchFamily="34" charset="0"/>
              <a:ea typeface="Roboto Condensed Light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1" name="Rounded Rectangle 26">
            <a:extLst>
              <a:ext uri="{FF2B5EF4-FFF2-40B4-BE49-F238E27FC236}">
                <a16:creationId xmlns:a16="http://schemas.microsoft.com/office/drawing/2014/main" id="{9E961CEB-C9C7-FC09-E892-BEE8573BF6F5}"/>
              </a:ext>
            </a:extLst>
          </p:cNvPr>
          <p:cNvSpPr/>
          <p:nvPr userDrawn="1"/>
        </p:nvSpPr>
        <p:spPr>
          <a:xfrm>
            <a:off x="6923190" y="3898162"/>
            <a:ext cx="1893094" cy="673838"/>
          </a:xfrm>
          <a:prstGeom prst="rect">
            <a:avLst/>
          </a:prstGeom>
          <a:solidFill>
            <a:srgbClr val="D40564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Roboto Condensed Light" panose="02000000000000000000" pitchFamily="2" charset="0"/>
                <a:cs typeface="Segoe UI" panose="020B0502040204020203" pitchFamily="34" charset="0"/>
              </a:rPr>
              <a:t>Текст</a:t>
            </a:r>
            <a:endParaRPr lang="en-US" sz="1400" b="1" dirty="0">
              <a:solidFill>
                <a:schemeClr val="bg1"/>
              </a:solidFill>
              <a:latin typeface="Segoe UI" panose="020B0502040204020203" pitchFamily="34" charset="0"/>
              <a:ea typeface="Roboto Condensed Light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D2A5C6-00D9-57A8-B063-F793528F0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9D4F24C-E7EA-7B54-DDE0-4F886B09DD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BE41D14-E585-3812-D233-18DBF20EE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501188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849600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13A278-F4C9-A36C-03AA-3820810A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176D413-9F38-0C3B-FF3A-A659765CF3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9E7B17-0CBA-71A3-A56A-01608F5054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22902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/>
          <a:srcRect l="6281" t="13888" b="13990"/>
          <a:stretch/>
        </p:blipFill>
        <p:spPr>
          <a:xfrm>
            <a:off x="0" y="0"/>
            <a:ext cx="6679166" cy="5144400"/>
          </a:xfrm>
          <a:prstGeom prst="rect">
            <a:avLst/>
          </a:prstGeom>
        </p:spPr>
      </p:pic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564AF84-B226-A8AD-E720-80656B8917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Segoe UI" panose="020B0502040204020203" pitchFamily="34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05EA84-F5C2-D663-ED5C-04FD47355D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680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2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9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r="43645" b="28381"/>
          <a:stretch/>
        </p:blipFill>
        <p:spPr>
          <a:xfrm>
            <a:off x="7058547" y="2405869"/>
            <a:ext cx="2085453" cy="2737631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EFC08BF-2D20-783E-9792-C556ACA4DFF9}"/>
              </a:ext>
            </a:extLst>
          </p:cNvPr>
          <p:cNvSpPr/>
          <p:nvPr userDrawn="1"/>
        </p:nvSpPr>
        <p:spPr>
          <a:xfrm>
            <a:off x="1" y="1"/>
            <a:ext cx="9143999" cy="5151521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4000" y="1080000"/>
            <a:ext cx="438912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4859135" y="1080000"/>
            <a:ext cx="3951653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Ключевые (основные) моменты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E893E-9470-4359-BE3E-F6E79C82E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2" y="123479"/>
            <a:ext cx="7201839" cy="729376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в </a:t>
            </a:r>
            <a:r>
              <a:rPr lang="en-US" dirty="0"/>
              <a:t>Segoe UI Bold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D50E34-5311-36AB-FD09-CD190AB9AA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2" y="417458"/>
            <a:ext cx="7201839" cy="435397"/>
          </a:xfrm>
        </p:spPr>
        <p:txBody>
          <a:bodyPr lIns="90000" tIns="46800" rIns="90000" bIns="46800"/>
          <a:lstStyle>
            <a:lvl1pPr marL="0" indent="0">
              <a:buNone/>
              <a:defRPr sz="1600">
                <a:solidFill>
                  <a:srgbClr val="0596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Подзаголовок в </a:t>
            </a:r>
            <a:r>
              <a:rPr lang="en-US" dirty="0"/>
              <a:t>Segoe UI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345C45-98C8-5C28-92B3-7479DE3255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039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9F1A8084-739F-F03E-C27E-340CF88E91D6}"/>
              </a:ext>
            </a:extLst>
          </p:cNvPr>
          <p:cNvGrpSpPr/>
          <p:nvPr userDrawn="1"/>
        </p:nvGrpSpPr>
        <p:grpSpPr>
          <a:xfrm>
            <a:off x="1" y="0"/>
            <a:ext cx="6849291" cy="1579368"/>
            <a:chOff x="0" y="0"/>
            <a:chExt cx="6849291" cy="1579368"/>
          </a:xfrm>
        </p:grpSpPr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5764160A-F2E6-50DB-5360-62FFD9AC9DC3}"/>
                </a:ext>
              </a:extLst>
            </p:cNvPr>
            <p:cNvGrpSpPr/>
            <p:nvPr userDrawn="1"/>
          </p:nvGrpSpPr>
          <p:grpSpPr>
            <a:xfrm>
              <a:off x="60282" y="42993"/>
              <a:ext cx="6789009" cy="1536375"/>
              <a:chOff x="60282" y="42993"/>
              <a:chExt cx="6789009" cy="1536375"/>
            </a:xfr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10800000" scaled="1"/>
            </a:gradFill>
          </p:grpSpPr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BBF0F62A-E05A-93D7-4A8D-1EFC5CA8A7C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106F83A7-2D13-35F3-F57C-8D4490D4889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49AE3C06-A830-5905-2315-34D57F5C7CA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F5E5152F-DEF0-BECF-3AB4-5E8592C77BD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8688B9C3-6A72-9A81-E762-2A9E8974021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F64F77DC-910E-48BE-6E91-E1C5017957B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D78248C7-40B5-4450-5C32-E2C6260C1C7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443B157E-EEBC-0E57-1E8E-4115D5DB4E2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1DF2A14C-DC2D-DE3A-E9D0-34ED947FB95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014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79E35C51-B639-00F1-BDA5-1DBB86D67E3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4947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83380EE5-C891-E062-C081-C310DE01D51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7880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02194AD4-A47A-ACCC-D641-152C0B22DF3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0813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88B24A09-2C22-C4B0-A868-94124F4837A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3746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DB901A5E-8F7D-15ED-10D2-00179FBB980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19D343B0-68FF-5F24-61BF-47FDA1A61C9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311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57CB51AC-CD60-58F1-5DB7-56F3D37E956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340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ABF103B3-7FC4-FD3D-E2B1-18B1AFCDF5D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369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753695F3-5C86-0FDE-101B-DF205C00DD0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398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7D52469E-E01E-F426-F6FE-CBB3646921C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5427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941D605A-93B0-6A0F-4CB1-350E4976C55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8456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4F53D8BD-CA26-BAC6-6A66-334DFC200E2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1485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6" name="Овал 55">
                <a:extLst>
                  <a:ext uri="{FF2B5EF4-FFF2-40B4-BE49-F238E27FC236}">
                    <a16:creationId xmlns:a16="http://schemas.microsoft.com/office/drawing/2014/main" id="{73404FFF-B907-02A5-773D-BC4D5481DD5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4514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62420DCB-E964-0112-3BDC-C256CD98AD8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687543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6" name="Овал 65">
                <a:extLst>
                  <a:ext uri="{FF2B5EF4-FFF2-40B4-BE49-F238E27FC236}">
                    <a16:creationId xmlns:a16="http://schemas.microsoft.com/office/drawing/2014/main" id="{0D3411E7-260A-6094-BE3C-8CFFEBDB56B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090572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73" name="Овал 72">
                <a:extLst>
                  <a:ext uri="{FF2B5EF4-FFF2-40B4-BE49-F238E27FC236}">
                    <a16:creationId xmlns:a16="http://schemas.microsoft.com/office/drawing/2014/main" id="{3A642E4A-1BCA-D3AB-8342-5B5D8F588C3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93601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78" name="Овал 77">
                <a:extLst>
                  <a:ext uri="{FF2B5EF4-FFF2-40B4-BE49-F238E27FC236}">
                    <a16:creationId xmlns:a16="http://schemas.microsoft.com/office/drawing/2014/main" id="{979D76D3-8B1D-8F30-8112-A0BE34B1B44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896630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83" name="Овал 82">
                <a:extLst>
                  <a:ext uri="{FF2B5EF4-FFF2-40B4-BE49-F238E27FC236}">
                    <a16:creationId xmlns:a16="http://schemas.microsoft.com/office/drawing/2014/main" id="{FC79C33A-93F0-0525-9D23-1C60E4F071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299659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1C837F59-596B-1E81-FC96-23EDF5DFA0F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55AA9043-3265-6405-45B3-DF77428D400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35D80C7C-D7E6-7047-D327-C4216B98308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8E49E8E1-3AE0-DBCE-6D64-44DC2DE878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C1895158-DB4E-428C-A944-83C1710AB8D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014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694B5BE7-40C7-1FC2-5F19-A2ECA552698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4947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5A78BFDE-B4D2-944C-1F7F-84FC61D45B8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7880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B3CB8714-94B4-1D9B-7ADF-7236D295A6E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0813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45C88824-075F-B365-28E2-F68D972B0F8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3746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2" name="Овал 61">
                <a:extLst>
                  <a:ext uri="{FF2B5EF4-FFF2-40B4-BE49-F238E27FC236}">
                    <a16:creationId xmlns:a16="http://schemas.microsoft.com/office/drawing/2014/main" id="{129F004D-0DDD-9F06-EE28-FE549FDA0AC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686679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67" name="Овал 66">
                <a:extLst>
                  <a:ext uri="{FF2B5EF4-FFF2-40B4-BE49-F238E27FC236}">
                    <a16:creationId xmlns:a16="http://schemas.microsoft.com/office/drawing/2014/main" id="{03FC3F36-7E15-4D95-00B3-08C180AAE2A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089612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74" name="Овал 73">
                <a:extLst>
                  <a:ext uri="{FF2B5EF4-FFF2-40B4-BE49-F238E27FC236}">
                    <a16:creationId xmlns:a16="http://schemas.microsoft.com/office/drawing/2014/main" id="{F2456464-5AF0-5B3B-6743-18E7F5D4F74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92545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79" name="Овал 78">
                <a:extLst>
                  <a:ext uri="{FF2B5EF4-FFF2-40B4-BE49-F238E27FC236}">
                    <a16:creationId xmlns:a16="http://schemas.microsoft.com/office/drawing/2014/main" id="{A369CA93-3874-27D7-4D33-65FCF0B8720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895478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84" name="Овал 83">
                <a:extLst>
                  <a:ext uri="{FF2B5EF4-FFF2-40B4-BE49-F238E27FC236}">
                    <a16:creationId xmlns:a16="http://schemas.microsoft.com/office/drawing/2014/main" id="{0A0A4597-B4E5-FA9B-86E2-C7185AFFDF5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298411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03" name="Овал 102">
                <a:extLst>
                  <a:ext uri="{FF2B5EF4-FFF2-40B4-BE49-F238E27FC236}">
                    <a16:creationId xmlns:a16="http://schemas.microsoft.com/office/drawing/2014/main" id="{9A883F04-C4CA-9721-6006-74F4C479DE1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02688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04" name="Овал 103">
                <a:extLst>
                  <a:ext uri="{FF2B5EF4-FFF2-40B4-BE49-F238E27FC236}">
                    <a16:creationId xmlns:a16="http://schemas.microsoft.com/office/drawing/2014/main" id="{B357EBFD-2C6D-37DC-60F6-D56B489E1D6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105717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05" name="Овал 104">
                <a:extLst>
                  <a:ext uri="{FF2B5EF4-FFF2-40B4-BE49-F238E27FC236}">
                    <a16:creationId xmlns:a16="http://schemas.microsoft.com/office/drawing/2014/main" id="{53581C1D-B119-C72C-0494-7ACB1C0B318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508746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4C04A4FE-338B-4B60-98B5-DA6C4570D7AB}"/>
                </a:ext>
              </a:extLst>
            </p:cNvPr>
            <p:cNvSpPr/>
            <p:nvPr userDrawn="1"/>
          </p:nvSpPr>
          <p:spPr>
            <a:xfrm>
              <a:off x="0" y="0"/>
              <a:ext cx="6849291" cy="1579368"/>
            </a:xfrm>
            <a:prstGeom prst="rect">
              <a:avLst/>
            </a:prstGeom>
            <a:gradFill flip="none" rotWithShape="1">
              <a:gsLst>
                <a:gs pos="55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DF613E0E-A6D3-91E4-5983-3DAD21BFA785}"/>
              </a:ext>
            </a:extLst>
          </p:cNvPr>
          <p:cNvGrpSpPr/>
          <p:nvPr userDrawn="1"/>
        </p:nvGrpSpPr>
        <p:grpSpPr>
          <a:xfrm flipH="1" flipV="1">
            <a:off x="2294710" y="3564132"/>
            <a:ext cx="6849291" cy="1579368"/>
            <a:chOff x="0" y="0"/>
            <a:chExt cx="6849291" cy="1579368"/>
          </a:xfrm>
        </p:grpSpPr>
        <p:grpSp>
          <p:nvGrpSpPr>
            <p:cNvPr id="151" name="Группа 150">
              <a:extLst>
                <a:ext uri="{FF2B5EF4-FFF2-40B4-BE49-F238E27FC236}">
                  <a16:creationId xmlns:a16="http://schemas.microsoft.com/office/drawing/2014/main" id="{0A5B5BFA-ADFA-A67A-6391-42A9CCEA4330}"/>
                </a:ext>
              </a:extLst>
            </p:cNvPr>
            <p:cNvGrpSpPr/>
            <p:nvPr userDrawn="1"/>
          </p:nvGrpSpPr>
          <p:grpSpPr>
            <a:xfrm>
              <a:off x="60282" y="42993"/>
              <a:ext cx="6789009" cy="1536375"/>
              <a:chOff x="60282" y="42993"/>
              <a:chExt cx="6789009" cy="1536375"/>
            </a:xfr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10800000" scaled="1"/>
            </a:gradFill>
          </p:grpSpPr>
          <p:sp>
            <p:nvSpPr>
              <p:cNvPr id="153" name="Овал 152">
                <a:extLst>
                  <a:ext uri="{FF2B5EF4-FFF2-40B4-BE49-F238E27FC236}">
                    <a16:creationId xmlns:a16="http://schemas.microsoft.com/office/drawing/2014/main" id="{F5D1231A-F5BB-D841-9FB5-6B46EB9E4C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4" name="Овал 153">
                <a:extLst>
                  <a:ext uri="{FF2B5EF4-FFF2-40B4-BE49-F238E27FC236}">
                    <a16:creationId xmlns:a16="http://schemas.microsoft.com/office/drawing/2014/main" id="{04C7B6E6-CFAD-5120-A45D-915F594BBD6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5" name="Овал 154">
                <a:extLst>
                  <a:ext uri="{FF2B5EF4-FFF2-40B4-BE49-F238E27FC236}">
                    <a16:creationId xmlns:a16="http://schemas.microsoft.com/office/drawing/2014/main" id="{E0007E3F-6370-6A65-1DFE-FE1CA38FAD5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6" name="Овал 155">
                <a:extLst>
                  <a:ext uri="{FF2B5EF4-FFF2-40B4-BE49-F238E27FC236}">
                    <a16:creationId xmlns:a16="http://schemas.microsoft.com/office/drawing/2014/main" id="{BDCB309E-A643-80AC-2A83-AEB3B1AE2E2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123882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7" name="Овал 156">
                <a:extLst>
                  <a:ext uri="{FF2B5EF4-FFF2-40B4-BE49-F238E27FC236}">
                    <a16:creationId xmlns:a16="http://schemas.microsoft.com/office/drawing/2014/main" id="{2DEEEB6B-C807-25E6-8589-AFE06AA6103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8" name="Овал 157">
                <a:extLst>
                  <a:ext uri="{FF2B5EF4-FFF2-40B4-BE49-F238E27FC236}">
                    <a16:creationId xmlns:a16="http://schemas.microsoft.com/office/drawing/2014/main" id="{6D26B7ED-D694-ED53-4F1B-EB9A59D69E8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59" name="Овал 158">
                <a:extLst>
                  <a:ext uri="{FF2B5EF4-FFF2-40B4-BE49-F238E27FC236}">
                    <a16:creationId xmlns:a16="http://schemas.microsoft.com/office/drawing/2014/main" id="{8ECF6BCE-71B8-06D5-767F-8E57B072A022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0" name="Овал 159">
                <a:extLst>
                  <a:ext uri="{FF2B5EF4-FFF2-40B4-BE49-F238E27FC236}">
                    <a16:creationId xmlns:a16="http://schemas.microsoft.com/office/drawing/2014/main" id="{90E13CA8-A4B2-5A47-0A13-A565FFD3460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84021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1" name="Овал 160">
                <a:extLst>
                  <a:ext uri="{FF2B5EF4-FFF2-40B4-BE49-F238E27FC236}">
                    <a16:creationId xmlns:a16="http://schemas.microsoft.com/office/drawing/2014/main" id="{FFBF663D-C7B8-CB94-0214-2199A662F43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014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2" name="Овал 161">
                <a:extLst>
                  <a:ext uri="{FF2B5EF4-FFF2-40B4-BE49-F238E27FC236}">
                    <a16:creationId xmlns:a16="http://schemas.microsoft.com/office/drawing/2014/main" id="{BEC45B11-BB85-4777-599C-76CC4B85A9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4947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3" name="Овал 162">
                <a:extLst>
                  <a:ext uri="{FF2B5EF4-FFF2-40B4-BE49-F238E27FC236}">
                    <a16:creationId xmlns:a16="http://schemas.microsoft.com/office/drawing/2014/main" id="{EB123EB1-B3A3-CAA0-0816-29AC79E46F5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7880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4" name="Овал 163">
                <a:extLst>
                  <a:ext uri="{FF2B5EF4-FFF2-40B4-BE49-F238E27FC236}">
                    <a16:creationId xmlns:a16="http://schemas.microsoft.com/office/drawing/2014/main" id="{D40531A6-6A53-1A38-F12D-381453B0DC8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0813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5" name="Овал 164">
                <a:extLst>
                  <a:ext uri="{FF2B5EF4-FFF2-40B4-BE49-F238E27FC236}">
                    <a16:creationId xmlns:a16="http://schemas.microsoft.com/office/drawing/2014/main" id="{5E956A8A-7CFA-EF7C-4308-9F8393F8750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3746" y="84021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6" name="Овал 165">
                <a:extLst>
                  <a:ext uri="{FF2B5EF4-FFF2-40B4-BE49-F238E27FC236}">
                    <a16:creationId xmlns:a16="http://schemas.microsoft.com/office/drawing/2014/main" id="{B2843D30-3B5E-E49E-778F-54F05C4D2A5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7" name="Овал 166">
                <a:extLst>
                  <a:ext uri="{FF2B5EF4-FFF2-40B4-BE49-F238E27FC236}">
                    <a16:creationId xmlns:a16="http://schemas.microsoft.com/office/drawing/2014/main" id="{9787C7EC-CE45-7F52-D344-D144A1AD60E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311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8" name="Овал 167">
                <a:extLst>
                  <a:ext uri="{FF2B5EF4-FFF2-40B4-BE49-F238E27FC236}">
                    <a16:creationId xmlns:a16="http://schemas.microsoft.com/office/drawing/2014/main" id="{F8A098E9-E1BE-B25A-49CF-DD7840EAA5F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340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69" name="Овал 168">
                <a:extLst>
                  <a:ext uri="{FF2B5EF4-FFF2-40B4-BE49-F238E27FC236}">
                    <a16:creationId xmlns:a16="http://schemas.microsoft.com/office/drawing/2014/main" id="{2E07A747-AC2F-69D3-F003-28602220605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369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0" name="Овал 169">
                <a:extLst>
                  <a:ext uri="{FF2B5EF4-FFF2-40B4-BE49-F238E27FC236}">
                    <a16:creationId xmlns:a16="http://schemas.microsoft.com/office/drawing/2014/main" id="{2A7B2AF3-1D71-5D68-47C7-FADEB0CB909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398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1" name="Овал 170">
                <a:extLst>
                  <a:ext uri="{FF2B5EF4-FFF2-40B4-BE49-F238E27FC236}">
                    <a16:creationId xmlns:a16="http://schemas.microsoft.com/office/drawing/2014/main" id="{06D55D18-8E2D-5823-CE3F-77CBE964727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5427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2" name="Овал 171">
                <a:extLst>
                  <a:ext uri="{FF2B5EF4-FFF2-40B4-BE49-F238E27FC236}">
                    <a16:creationId xmlns:a16="http://schemas.microsoft.com/office/drawing/2014/main" id="{84272993-3B9D-8925-7E73-B3663565158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8456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3" name="Овал 172">
                <a:extLst>
                  <a:ext uri="{FF2B5EF4-FFF2-40B4-BE49-F238E27FC236}">
                    <a16:creationId xmlns:a16="http://schemas.microsoft.com/office/drawing/2014/main" id="{9D7451B7-8719-FC3E-B846-6224676F2AD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1485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4" name="Овал 173">
                <a:extLst>
                  <a:ext uri="{FF2B5EF4-FFF2-40B4-BE49-F238E27FC236}">
                    <a16:creationId xmlns:a16="http://schemas.microsoft.com/office/drawing/2014/main" id="{F2A0A771-BDA3-2825-1887-67A7766FD76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4514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5" name="Овал 174">
                <a:extLst>
                  <a:ext uri="{FF2B5EF4-FFF2-40B4-BE49-F238E27FC236}">
                    <a16:creationId xmlns:a16="http://schemas.microsoft.com/office/drawing/2014/main" id="{B91EFE05-CC7B-0F42-607D-78E5062AE20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687543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6" name="Овал 175">
                <a:extLst>
                  <a:ext uri="{FF2B5EF4-FFF2-40B4-BE49-F238E27FC236}">
                    <a16:creationId xmlns:a16="http://schemas.microsoft.com/office/drawing/2014/main" id="{86DBA270-9BB3-3056-FC9D-A2AB2B14561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090572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7" name="Овал 176">
                <a:extLst>
                  <a:ext uri="{FF2B5EF4-FFF2-40B4-BE49-F238E27FC236}">
                    <a16:creationId xmlns:a16="http://schemas.microsoft.com/office/drawing/2014/main" id="{6EB4F466-8BC0-1D95-4D36-D3C852804BE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93601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8" name="Овал 177">
                <a:extLst>
                  <a:ext uri="{FF2B5EF4-FFF2-40B4-BE49-F238E27FC236}">
                    <a16:creationId xmlns:a16="http://schemas.microsoft.com/office/drawing/2014/main" id="{476D1E13-32AB-68F9-6805-D3CB50672EA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896630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79" name="Овал 178">
                <a:extLst>
                  <a:ext uri="{FF2B5EF4-FFF2-40B4-BE49-F238E27FC236}">
                    <a16:creationId xmlns:a16="http://schemas.microsoft.com/office/drawing/2014/main" id="{638B0C34-AF24-EDBC-BDD7-A0770A51CB7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299659" y="4299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0" name="Овал 179">
                <a:extLst>
                  <a:ext uri="{FF2B5EF4-FFF2-40B4-BE49-F238E27FC236}">
                    <a16:creationId xmlns:a16="http://schemas.microsoft.com/office/drawing/2014/main" id="{B4DEE1AA-5589-294B-DA7F-28AB1415C30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0282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1" name="Овал 180">
                <a:extLst>
                  <a:ext uri="{FF2B5EF4-FFF2-40B4-BE49-F238E27FC236}">
                    <a16:creationId xmlns:a16="http://schemas.microsoft.com/office/drawing/2014/main" id="{B30AEDB4-E969-3103-4B8F-9B12C21F9E7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63215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2" name="Овал 181">
                <a:extLst>
                  <a:ext uri="{FF2B5EF4-FFF2-40B4-BE49-F238E27FC236}">
                    <a16:creationId xmlns:a16="http://schemas.microsoft.com/office/drawing/2014/main" id="{AE42B1E5-B870-49B3-3362-72CA6677095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66148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3" name="Овал 182">
                <a:extLst>
                  <a:ext uri="{FF2B5EF4-FFF2-40B4-BE49-F238E27FC236}">
                    <a16:creationId xmlns:a16="http://schemas.microsoft.com/office/drawing/2014/main" id="{A0927021-019F-12F2-A406-021149082A7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69081" y="44160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4" name="Овал 183">
                <a:extLst>
                  <a:ext uri="{FF2B5EF4-FFF2-40B4-BE49-F238E27FC236}">
                    <a16:creationId xmlns:a16="http://schemas.microsoft.com/office/drawing/2014/main" id="{6811DED1-F937-69D9-9075-738D487DDA6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672014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5" name="Овал 184">
                <a:extLst>
                  <a:ext uri="{FF2B5EF4-FFF2-40B4-BE49-F238E27FC236}">
                    <a16:creationId xmlns:a16="http://schemas.microsoft.com/office/drawing/2014/main" id="{6EDE06FD-3B27-7C3D-5613-72CE26933B1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074947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6" name="Овал 185">
                <a:extLst>
                  <a:ext uri="{FF2B5EF4-FFF2-40B4-BE49-F238E27FC236}">
                    <a16:creationId xmlns:a16="http://schemas.microsoft.com/office/drawing/2014/main" id="{A792EEB6-02D1-47D1-1304-5884F104E0B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77880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7" name="Овал 186">
                <a:extLst>
                  <a:ext uri="{FF2B5EF4-FFF2-40B4-BE49-F238E27FC236}">
                    <a16:creationId xmlns:a16="http://schemas.microsoft.com/office/drawing/2014/main" id="{9CBEA3AE-B5E7-FAA0-5CCD-CD9742E29CF3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880813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8" name="Овал 187">
                <a:extLst>
                  <a:ext uri="{FF2B5EF4-FFF2-40B4-BE49-F238E27FC236}">
                    <a16:creationId xmlns:a16="http://schemas.microsoft.com/office/drawing/2014/main" id="{2120291B-BC40-0AF8-DBB8-7DFD660F69B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283746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89" name="Овал 188">
                <a:extLst>
                  <a:ext uri="{FF2B5EF4-FFF2-40B4-BE49-F238E27FC236}">
                    <a16:creationId xmlns:a16="http://schemas.microsoft.com/office/drawing/2014/main" id="{8EF964D0-BDA9-D850-1352-A2A0C4B6B33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3686679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0" name="Овал 189">
                <a:extLst>
                  <a:ext uri="{FF2B5EF4-FFF2-40B4-BE49-F238E27FC236}">
                    <a16:creationId xmlns:a16="http://schemas.microsoft.com/office/drawing/2014/main" id="{E4E77B94-6F90-103E-9000-60E665FCCB9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089612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1" name="Овал 190">
                <a:extLst>
                  <a:ext uri="{FF2B5EF4-FFF2-40B4-BE49-F238E27FC236}">
                    <a16:creationId xmlns:a16="http://schemas.microsoft.com/office/drawing/2014/main" id="{990347CC-2CB7-36B2-B819-C46763E3307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92545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2" name="Овал 191">
                <a:extLst>
                  <a:ext uri="{FF2B5EF4-FFF2-40B4-BE49-F238E27FC236}">
                    <a16:creationId xmlns:a16="http://schemas.microsoft.com/office/drawing/2014/main" id="{EADDBDC5-BF52-6B02-2701-A67D34B4FE8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895478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3" name="Овал 192">
                <a:extLst>
                  <a:ext uri="{FF2B5EF4-FFF2-40B4-BE49-F238E27FC236}">
                    <a16:creationId xmlns:a16="http://schemas.microsoft.com/office/drawing/2014/main" id="{BDFF22A5-B091-5D58-B131-800111846AE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298411" y="441603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4" name="Овал 193">
                <a:extLst>
                  <a:ext uri="{FF2B5EF4-FFF2-40B4-BE49-F238E27FC236}">
                    <a16:creationId xmlns:a16="http://schemas.microsoft.com/office/drawing/2014/main" id="{E30BE3BB-9EF4-795A-C8D5-166357C9E58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702688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5" name="Овал 194">
                <a:extLst>
                  <a:ext uri="{FF2B5EF4-FFF2-40B4-BE49-F238E27FC236}">
                    <a16:creationId xmlns:a16="http://schemas.microsoft.com/office/drawing/2014/main" id="{DC1E7DB4-4721-3CE8-E33F-D00A0133A73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105717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196" name="Овал 195">
                <a:extLst>
                  <a:ext uri="{FF2B5EF4-FFF2-40B4-BE49-F238E27FC236}">
                    <a16:creationId xmlns:a16="http://schemas.microsoft.com/office/drawing/2014/main" id="{77C7000E-5236-258F-81B6-6FBEC6CBE22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508746" y="42994"/>
                <a:ext cx="340545" cy="3405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2" name="Прямоугольник 151">
              <a:extLst>
                <a:ext uri="{FF2B5EF4-FFF2-40B4-BE49-F238E27FC236}">
                  <a16:creationId xmlns:a16="http://schemas.microsoft.com/office/drawing/2014/main" id="{305820BB-1B9B-005C-434C-1D9EEA745236}"/>
                </a:ext>
              </a:extLst>
            </p:cNvPr>
            <p:cNvSpPr/>
            <p:nvPr userDrawn="1"/>
          </p:nvSpPr>
          <p:spPr>
            <a:xfrm>
              <a:off x="0" y="0"/>
              <a:ext cx="6849291" cy="1579368"/>
            </a:xfrm>
            <a:prstGeom prst="rect">
              <a:avLst/>
            </a:prstGeom>
            <a:gradFill flip="none" rotWithShape="1">
              <a:gsLst>
                <a:gs pos="55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1" name="Рисунок 10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1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764160A-F2E6-50DB-5360-62FFD9AC9DC3}"/>
              </a:ext>
            </a:extLst>
          </p:cNvPr>
          <p:cNvGrpSpPr/>
          <p:nvPr userDrawn="1"/>
        </p:nvGrpSpPr>
        <p:grpSpPr>
          <a:xfrm>
            <a:off x="60283" y="42994"/>
            <a:ext cx="6789009" cy="1536375"/>
            <a:chOff x="60282" y="42993"/>
            <a:chExt cx="6789009" cy="1536375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BBF0F62A-E05A-93D7-4A8D-1EFC5CA8A7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06F83A7-2D13-35F3-F57C-8D4490D488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9AE3C06-A830-5905-2315-34D57F5C7C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F5E5152F-DEF0-BECF-3AB4-5E8592C77B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8688B9C3-6A72-9A81-E762-2A9E89740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64F77DC-910E-48BE-6E91-E1C501795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78248C7-40B5-4450-5C32-E2C6260C1C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3B157E-EEBC-0E57-1E8E-4115D5DB4E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1DF2A14C-DC2D-DE3A-E9D0-34ED947FB9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79E35C51-B639-00F1-BDA5-1DBB86D67E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83380EE5-C891-E062-C081-C310DE01D5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2194AD4-A47A-ACCC-D641-152C0B22DF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8B24A09-2C22-C4B0-A868-94124F4837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B901A5E-8F7D-15ED-10D2-00179FBB98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D343B0-68FF-5F24-61BF-47FDA1A61C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57CB51AC-CD60-58F1-5DB7-56F3D37E95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BF103B3-7FC4-FD3D-E2B1-18B1AFCDF5D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753695F3-5C86-0FDE-101B-DF205C00DD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52469E-E01E-F426-F6FE-CBB3646921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941D605A-93B0-6A0F-4CB1-350E4976C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4F53D8BD-CA26-BAC6-6A66-334DFC200E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73404FFF-B907-02A5-773D-BC4D5481DD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62420DCB-E964-0112-3BDC-C256CD98AD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D3411E7-260A-6094-BE3C-8CFFEBDB56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3A642E4A-1BCA-D3AB-8342-5B5D8F588C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79D76D3-8B1D-8F30-8112-A0BE34B1B4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C79C33A-93F0-0525-9D23-1C60E4F0711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C837F59-596B-1E81-FC96-23EDF5DFA0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55AA9043-3265-6405-45B3-DF77428D40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5D80C7C-D7E6-7047-D327-C4216B9830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8E49E8E1-3AE0-DBCE-6D64-44DC2DE878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C1895158-DB4E-428C-A944-83C1710AB8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94B5BE7-40C7-1FC2-5F19-A2ECA55269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5A78BFDE-B4D2-944C-1F7F-84FC61D45B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CB8714-94B4-1D9B-7ADF-7236D295A6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5C88824-075F-B365-28E2-F68D972B0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129F004D-0DDD-9F06-EE28-FE549FDA0A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03FC3F36-7E15-4D95-00B3-08C180AAE2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2456464-5AF0-5B3B-6743-18E7F5D4F7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369CA93-3874-27D7-4D33-65FCF0B87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A0A4597-B4E5-FA9B-86E2-C7185AFFDF5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9A883F04-C4CA-9721-6006-74F4C479DE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B357EBFD-2C6D-37DC-60F6-D56B489E1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53581C1D-B119-C72C-0494-7ACB1C0B31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C04A4FE-338B-4B60-98B5-DA6C4570D7AB}"/>
              </a:ext>
            </a:extLst>
          </p:cNvPr>
          <p:cNvSpPr/>
          <p:nvPr userDrawn="1"/>
        </p:nvSpPr>
        <p:spPr>
          <a:xfrm>
            <a:off x="1" y="0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0A5B5BFA-ADFA-A67A-6391-42A9CCEA4330}"/>
              </a:ext>
            </a:extLst>
          </p:cNvPr>
          <p:cNvGrpSpPr/>
          <p:nvPr userDrawn="1"/>
        </p:nvGrpSpPr>
        <p:grpSpPr>
          <a:xfrm flipH="1" flipV="1">
            <a:off x="2294710" y="3564133"/>
            <a:ext cx="6789009" cy="1536375"/>
            <a:chOff x="60282" y="42993"/>
            <a:chExt cx="6789009" cy="1536375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</p:grpSpPr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F5D1231A-F5BB-D841-9FB5-6B46EB9E4C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04C7B6E6-CFAD-5120-A45D-915F594BB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E0007E3F-6370-6A65-1DFE-FE1CA38FAD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BDCB309E-A643-80AC-2A83-AEB3B1AE2E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2DEEEB6B-C807-25E6-8589-AFE06AA610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6D26B7ED-D694-ED53-4F1B-EB9A59D69E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8ECF6BCE-71B8-06D5-767F-8E57B072A0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90E13CA8-A4B2-5A47-0A13-A565FFD346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1" name="Овал 160">
              <a:extLst>
                <a:ext uri="{FF2B5EF4-FFF2-40B4-BE49-F238E27FC236}">
                  <a16:creationId xmlns:a16="http://schemas.microsoft.com/office/drawing/2014/main" id="{FFBF663D-C7B8-CB94-0214-2199A662F4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2" name="Овал 161">
              <a:extLst>
                <a:ext uri="{FF2B5EF4-FFF2-40B4-BE49-F238E27FC236}">
                  <a16:creationId xmlns:a16="http://schemas.microsoft.com/office/drawing/2014/main" id="{BEC45B11-BB85-4777-599C-76CC4B85A9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3" name="Овал 162">
              <a:extLst>
                <a:ext uri="{FF2B5EF4-FFF2-40B4-BE49-F238E27FC236}">
                  <a16:creationId xmlns:a16="http://schemas.microsoft.com/office/drawing/2014/main" id="{EB123EB1-B3A3-CAA0-0816-29AC79E46F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D40531A6-6A53-1A38-F12D-381453B0DC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5" name="Овал 164">
              <a:extLst>
                <a:ext uri="{FF2B5EF4-FFF2-40B4-BE49-F238E27FC236}">
                  <a16:creationId xmlns:a16="http://schemas.microsoft.com/office/drawing/2014/main" id="{5E956A8A-7CFA-EF7C-4308-9F8393F875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6" name="Овал 165">
              <a:extLst>
                <a:ext uri="{FF2B5EF4-FFF2-40B4-BE49-F238E27FC236}">
                  <a16:creationId xmlns:a16="http://schemas.microsoft.com/office/drawing/2014/main" id="{B2843D30-3B5E-E49E-778F-54F05C4D2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7" name="Овал 166">
              <a:extLst>
                <a:ext uri="{FF2B5EF4-FFF2-40B4-BE49-F238E27FC236}">
                  <a16:creationId xmlns:a16="http://schemas.microsoft.com/office/drawing/2014/main" id="{9787C7EC-CE45-7F52-D344-D144A1AD60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F8A098E9-E1BE-B25A-49CF-DD7840EAA5F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2E07A747-AC2F-69D3-F003-2860222060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0" name="Овал 169">
              <a:extLst>
                <a:ext uri="{FF2B5EF4-FFF2-40B4-BE49-F238E27FC236}">
                  <a16:creationId xmlns:a16="http://schemas.microsoft.com/office/drawing/2014/main" id="{2A7B2AF3-1D71-5D68-47C7-FADEB0CB90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06D55D18-8E2D-5823-CE3F-77CBE96472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84272993-3B9D-8925-7E73-B36635651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3" name="Овал 172">
              <a:extLst>
                <a:ext uri="{FF2B5EF4-FFF2-40B4-BE49-F238E27FC236}">
                  <a16:creationId xmlns:a16="http://schemas.microsoft.com/office/drawing/2014/main" id="{9D7451B7-8719-FC3E-B846-6224676F2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4" name="Овал 173">
              <a:extLst>
                <a:ext uri="{FF2B5EF4-FFF2-40B4-BE49-F238E27FC236}">
                  <a16:creationId xmlns:a16="http://schemas.microsoft.com/office/drawing/2014/main" id="{F2A0A771-BDA3-2825-1887-67A7766FD7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B91EFE05-CC7B-0F42-607D-78E5062AE2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86DBA270-9BB3-3056-FC9D-A2AB2B1456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EB4F466-8BC0-1D95-4D36-D3C852804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476D1E13-32AB-68F9-6805-D3CB50672EA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638B0C34-AF24-EDBC-BDD7-A0770A51CB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B4DEE1AA-5589-294B-DA7F-28AB1415C3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B30AEDB4-E969-3103-4B8F-9B12C21F9E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AE42B1E5-B870-49B3-3362-72CA667709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A0927021-019F-12F2-A406-021149082A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6811DED1-F937-69D9-9075-738D487DDA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6EDE06FD-3B27-7C3D-5613-72CE26933B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A792EEB6-02D1-47D1-1304-5884F104E0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9CBEA3AE-B5E7-FAA0-5CCD-CD9742E29C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8" name="Овал 187">
              <a:extLst>
                <a:ext uri="{FF2B5EF4-FFF2-40B4-BE49-F238E27FC236}">
                  <a16:creationId xmlns:a16="http://schemas.microsoft.com/office/drawing/2014/main" id="{2120291B-BC40-0AF8-DBB8-7DFD660F69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9" name="Овал 188">
              <a:extLst>
                <a:ext uri="{FF2B5EF4-FFF2-40B4-BE49-F238E27FC236}">
                  <a16:creationId xmlns:a16="http://schemas.microsoft.com/office/drawing/2014/main" id="{8EF964D0-BDA9-D850-1352-A2A0C4B6B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E4E77B94-6F90-103E-9000-60E665FCCB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990347CC-2CB7-36B2-B819-C46763E330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EADDBDC5-BF52-6B02-2701-A67D34B4FE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3" name="Овал 192">
              <a:extLst>
                <a:ext uri="{FF2B5EF4-FFF2-40B4-BE49-F238E27FC236}">
                  <a16:creationId xmlns:a16="http://schemas.microsoft.com/office/drawing/2014/main" id="{BDFF22A5-B091-5D58-B131-800111846A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E30BE3BB-9EF4-795A-C8D5-166357C9E5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DC1E7DB4-4721-3CE8-E33F-D00A0133A7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6" name="Овал 195">
              <a:extLst>
                <a:ext uri="{FF2B5EF4-FFF2-40B4-BE49-F238E27FC236}">
                  <a16:creationId xmlns:a16="http://schemas.microsoft.com/office/drawing/2014/main" id="{77C7000E-5236-258F-81B6-6FBEC6CBE2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305820BB-1B9B-005C-434C-1D9EEA745236}"/>
              </a:ext>
            </a:extLst>
          </p:cNvPr>
          <p:cNvSpPr/>
          <p:nvPr userDrawn="1"/>
        </p:nvSpPr>
        <p:spPr>
          <a:xfrm flipH="1" flipV="1">
            <a:off x="2294710" y="3564132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9" name="Рисунок 9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9664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764160A-F2E6-50DB-5360-62FFD9AC9DC3}"/>
              </a:ext>
            </a:extLst>
          </p:cNvPr>
          <p:cNvGrpSpPr/>
          <p:nvPr userDrawn="1"/>
        </p:nvGrpSpPr>
        <p:grpSpPr>
          <a:xfrm>
            <a:off x="60283" y="42994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4"/>
              </a:gs>
              <a:gs pos="0">
                <a:schemeClr val="accent2"/>
              </a:gs>
            </a:gsLst>
            <a:lin ang="10800000" scaled="1"/>
          </a:gradFill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BBF0F62A-E05A-93D7-4A8D-1EFC5CA8A7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06F83A7-2D13-35F3-F57C-8D4490D488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9AE3C06-A830-5905-2315-34D57F5C7C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F5E5152F-DEF0-BECF-3AB4-5E8592C77B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8688B9C3-6A72-9A81-E762-2A9E89740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64F77DC-910E-48BE-6E91-E1C501795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78248C7-40B5-4450-5C32-E2C6260C1C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3B157E-EEBC-0E57-1E8E-4115D5DB4E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1DF2A14C-DC2D-DE3A-E9D0-34ED947FB9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79E35C51-B639-00F1-BDA5-1DBB86D67E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83380EE5-C891-E062-C081-C310DE01D5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2194AD4-A47A-ACCC-D641-152C0B22DF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8B24A09-2C22-C4B0-A868-94124F4837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B901A5E-8F7D-15ED-10D2-00179FBB98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D343B0-68FF-5F24-61BF-47FDA1A61C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57CB51AC-CD60-58F1-5DB7-56F3D37E95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BF103B3-7FC4-FD3D-E2B1-18B1AFCDF5D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753695F3-5C86-0FDE-101B-DF205C00DD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52469E-E01E-F426-F6FE-CBB3646921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941D605A-93B0-6A0F-4CB1-350E4976C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4F53D8BD-CA26-BAC6-6A66-334DFC200E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73404FFF-B907-02A5-773D-BC4D5481DD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62420DCB-E964-0112-3BDC-C256CD98AD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D3411E7-260A-6094-BE3C-8CFFEBDB56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3A642E4A-1BCA-D3AB-8342-5B5D8F588C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79D76D3-8B1D-8F30-8112-A0BE34B1B4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C79C33A-93F0-0525-9D23-1C60E4F0711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C837F59-596B-1E81-FC96-23EDF5DFA0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55AA9043-3265-6405-45B3-DF77428D40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5D80C7C-D7E6-7047-D327-C4216B9830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8E49E8E1-3AE0-DBCE-6D64-44DC2DE878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C1895158-DB4E-428C-A944-83C1710AB8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94B5BE7-40C7-1FC2-5F19-A2ECA55269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5A78BFDE-B4D2-944C-1F7F-84FC61D45B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CB8714-94B4-1D9B-7ADF-7236D295A6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5C88824-075F-B365-28E2-F68D972B0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129F004D-0DDD-9F06-EE28-FE549FDA0A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03FC3F36-7E15-4D95-00B3-08C180AAE2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2456464-5AF0-5B3B-6743-18E7F5D4F7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369CA93-3874-27D7-4D33-65FCF0B87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A0A4597-B4E5-FA9B-86E2-C7185AFFDF5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9A883F04-C4CA-9721-6006-74F4C479DE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B357EBFD-2C6D-37DC-60F6-D56B489E1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53581C1D-B119-C72C-0494-7ACB1C0B31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C04A4FE-338B-4B60-98B5-DA6C4570D7AB}"/>
              </a:ext>
            </a:extLst>
          </p:cNvPr>
          <p:cNvSpPr/>
          <p:nvPr userDrawn="1"/>
        </p:nvSpPr>
        <p:spPr>
          <a:xfrm>
            <a:off x="1" y="0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0A5B5BFA-ADFA-A67A-6391-42A9CCEA4330}"/>
              </a:ext>
            </a:extLst>
          </p:cNvPr>
          <p:cNvGrpSpPr/>
          <p:nvPr userDrawn="1"/>
        </p:nvGrpSpPr>
        <p:grpSpPr>
          <a:xfrm flipH="1" flipV="1">
            <a:off x="2294710" y="3564133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4"/>
              </a:gs>
              <a:gs pos="0">
                <a:schemeClr val="accent2"/>
              </a:gs>
            </a:gsLst>
            <a:lin ang="10800000" scaled="1"/>
          </a:gradFill>
        </p:grpSpPr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F5D1231A-F5BB-D841-9FB5-6B46EB9E4C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04C7B6E6-CFAD-5120-A45D-915F594BB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E0007E3F-6370-6A65-1DFE-FE1CA38FAD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BDCB309E-A643-80AC-2A83-AEB3B1AE2E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2DEEEB6B-C807-25E6-8589-AFE06AA610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6D26B7ED-D694-ED53-4F1B-EB9A59D69E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8ECF6BCE-71B8-06D5-767F-8E57B072A0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90E13CA8-A4B2-5A47-0A13-A565FFD346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1" name="Овал 160">
              <a:extLst>
                <a:ext uri="{FF2B5EF4-FFF2-40B4-BE49-F238E27FC236}">
                  <a16:creationId xmlns:a16="http://schemas.microsoft.com/office/drawing/2014/main" id="{FFBF663D-C7B8-CB94-0214-2199A662F4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2" name="Овал 161">
              <a:extLst>
                <a:ext uri="{FF2B5EF4-FFF2-40B4-BE49-F238E27FC236}">
                  <a16:creationId xmlns:a16="http://schemas.microsoft.com/office/drawing/2014/main" id="{BEC45B11-BB85-4777-599C-76CC4B85A9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3" name="Овал 162">
              <a:extLst>
                <a:ext uri="{FF2B5EF4-FFF2-40B4-BE49-F238E27FC236}">
                  <a16:creationId xmlns:a16="http://schemas.microsoft.com/office/drawing/2014/main" id="{EB123EB1-B3A3-CAA0-0816-29AC79E46F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D40531A6-6A53-1A38-F12D-381453B0DC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5" name="Овал 164">
              <a:extLst>
                <a:ext uri="{FF2B5EF4-FFF2-40B4-BE49-F238E27FC236}">
                  <a16:creationId xmlns:a16="http://schemas.microsoft.com/office/drawing/2014/main" id="{5E956A8A-7CFA-EF7C-4308-9F8393F875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6" name="Овал 165">
              <a:extLst>
                <a:ext uri="{FF2B5EF4-FFF2-40B4-BE49-F238E27FC236}">
                  <a16:creationId xmlns:a16="http://schemas.microsoft.com/office/drawing/2014/main" id="{B2843D30-3B5E-E49E-778F-54F05C4D2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7" name="Овал 166">
              <a:extLst>
                <a:ext uri="{FF2B5EF4-FFF2-40B4-BE49-F238E27FC236}">
                  <a16:creationId xmlns:a16="http://schemas.microsoft.com/office/drawing/2014/main" id="{9787C7EC-CE45-7F52-D344-D144A1AD60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F8A098E9-E1BE-B25A-49CF-DD7840EAA5F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2E07A747-AC2F-69D3-F003-2860222060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0" name="Овал 169">
              <a:extLst>
                <a:ext uri="{FF2B5EF4-FFF2-40B4-BE49-F238E27FC236}">
                  <a16:creationId xmlns:a16="http://schemas.microsoft.com/office/drawing/2014/main" id="{2A7B2AF3-1D71-5D68-47C7-FADEB0CB90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06D55D18-8E2D-5823-CE3F-77CBE96472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84272993-3B9D-8925-7E73-B36635651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3" name="Овал 172">
              <a:extLst>
                <a:ext uri="{FF2B5EF4-FFF2-40B4-BE49-F238E27FC236}">
                  <a16:creationId xmlns:a16="http://schemas.microsoft.com/office/drawing/2014/main" id="{9D7451B7-8719-FC3E-B846-6224676F2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4" name="Овал 173">
              <a:extLst>
                <a:ext uri="{FF2B5EF4-FFF2-40B4-BE49-F238E27FC236}">
                  <a16:creationId xmlns:a16="http://schemas.microsoft.com/office/drawing/2014/main" id="{F2A0A771-BDA3-2825-1887-67A7766FD7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B91EFE05-CC7B-0F42-607D-78E5062AE2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86DBA270-9BB3-3056-FC9D-A2AB2B1456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EB4F466-8BC0-1D95-4D36-D3C852804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476D1E13-32AB-68F9-6805-D3CB50672EA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638B0C34-AF24-EDBC-BDD7-A0770A51CB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B4DEE1AA-5589-294B-DA7F-28AB1415C3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B30AEDB4-E969-3103-4B8F-9B12C21F9E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AE42B1E5-B870-49B3-3362-72CA667709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A0927021-019F-12F2-A406-021149082A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6811DED1-F937-69D9-9075-738D487DDA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6EDE06FD-3B27-7C3D-5613-72CE26933B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A792EEB6-02D1-47D1-1304-5884F104E0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9CBEA3AE-B5E7-FAA0-5CCD-CD9742E29C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8" name="Овал 187">
              <a:extLst>
                <a:ext uri="{FF2B5EF4-FFF2-40B4-BE49-F238E27FC236}">
                  <a16:creationId xmlns:a16="http://schemas.microsoft.com/office/drawing/2014/main" id="{2120291B-BC40-0AF8-DBB8-7DFD660F69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9" name="Овал 188">
              <a:extLst>
                <a:ext uri="{FF2B5EF4-FFF2-40B4-BE49-F238E27FC236}">
                  <a16:creationId xmlns:a16="http://schemas.microsoft.com/office/drawing/2014/main" id="{8EF964D0-BDA9-D850-1352-A2A0C4B6B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E4E77B94-6F90-103E-9000-60E665FCCB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990347CC-2CB7-36B2-B819-C46763E330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EADDBDC5-BF52-6B02-2701-A67D34B4FE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3" name="Овал 192">
              <a:extLst>
                <a:ext uri="{FF2B5EF4-FFF2-40B4-BE49-F238E27FC236}">
                  <a16:creationId xmlns:a16="http://schemas.microsoft.com/office/drawing/2014/main" id="{BDFF22A5-B091-5D58-B131-800111846A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E30BE3BB-9EF4-795A-C8D5-166357C9E5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DC1E7DB4-4721-3CE8-E33F-D00A0133A7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6" name="Овал 195">
              <a:extLst>
                <a:ext uri="{FF2B5EF4-FFF2-40B4-BE49-F238E27FC236}">
                  <a16:creationId xmlns:a16="http://schemas.microsoft.com/office/drawing/2014/main" id="{77C7000E-5236-258F-81B6-6FBEC6CBE2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305820BB-1B9B-005C-434C-1D9EEA745236}"/>
              </a:ext>
            </a:extLst>
          </p:cNvPr>
          <p:cNvSpPr/>
          <p:nvPr userDrawn="1"/>
        </p:nvSpPr>
        <p:spPr>
          <a:xfrm flipH="1" flipV="1">
            <a:off x="2294710" y="3564132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9" name="Рисунок 9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350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764160A-F2E6-50DB-5360-62FFD9AC9DC3}"/>
              </a:ext>
            </a:extLst>
          </p:cNvPr>
          <p:cNvGrpSpPr/>
          <p:nvPr userDrawn="1"/>
        </p:nvGrpSpPr>
        <p:grpSpPr>
          <a:xfrm>
            <a:off x="60283" y="42994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10800000" scaled="1"/>
          </a:gradFill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BBF0F62A-E05A-93D7-4A8D-1EFC5CA8A7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06F83A7-2D13-35F3-F57C-8D4490D488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9AE3C06-A830-5905-2315-34D57F5C7C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F5E5152F-DEF0-BECF-3AB4-5E8592C77B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8688B9C3-6A72-9A81-E762-2A9E89740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64F77DC-910E-48BE-6E91-E1C501795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78248C7-40B5-4450-5C32-E2C6260C1C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3B157E-EEBC-0E57-1E8E-4115D5DB4E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1DF2A14C-DC2D-DE3A-E9D0-34ED947FB9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79E35C51-B639-00F1-BDA5-1DBB86D67E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83380EE5-C891-E062-C081-C310DE01D5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2194AD4-A47A-ACCC-D641-152C0B22DF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8B24A09-2C22-C4B0-A868-94124F4837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B901A5E-8F7D-15ED-10D2-00179FBB98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D343B0-68FF-5F24-61BF-47FDA1A61C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57CB51AC-CD60-58F1-5DB7-56F3D37E95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BF103B3-7FC4-FD3D-E2B1-18B1AFCDF5D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753695F3-5C86-0FDE-101B-DF205C00DD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52469E-E01E-F426-F6FE-CBB3646921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941D605A-93B0-6A0F-4CB1-350E4976C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4F53D8BD-CA26-BAC6-6A66-334DFC200E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73404FFF-B907-02A5-773D-BC4D5481DD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62420DCB-E964-0112-3BDC-C256CD98AD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D3411E7-260A-6094-BE3C-8CFFEBDB56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3A642E4A-1BCA-D3AB-8342-5B5D8F588C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79D76D3-8B1D-8F30-8112-A0BE34B1B4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C79C33A-93F0-0525-9D23-1C60E4F0711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C837F59-596B-1E81-FC96-23EDF5DFA0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55AA9043-3265-6405-45B3-DF77428D40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5D80C7C-D7E6-7047-D327-C4216B9830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8E49E8E1-3AE0-DBCE-6D64-44DC2DE878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C1895158-DB4E-428C-A944-83C1710AB8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94B5BE7-40C7-1FC2-5F19-A2ECA55269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5A78BFDE-B4D2-944C-1F7F-84FC61D45B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CB8714-94B4-1D9B-7ADF-7236D295A6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5C88824-075F-B365-28E2-F68D972B0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129F004D-0DDD-9F06-EE28-FE549FDA0A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03FC3F36-7E15-4D95-00B3-08C180AAE2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2456464-5AF0-5B3B-6743-18E7F5D4F7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369CA93-3874-27D7-4D33-65FCF0B87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A0A4597-B4E5-FA9B-86E2-C7185AFFDF5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9A883F04-C4CA-9721-6006-74F4C479DE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B357EBFD-2C6D-37DC-60F6-D56B489E1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53581C1D-B119-C72C-0494-7ACB1C0B31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C04A4FE-338B-4B60-98B5-DA6C4570D7AB}"/>
              </a:ext>
            </a:extLst>
          </p:cNvPr>
          <p:cNvSpPr/>
          <p:nvPr userDrawn="1"/>
        </p:nvSpPr>
        <p:spPr>
          <a:xfrm>
            <a:off x="1" y="0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0A5B5BFA-ADFA-A67A-6391-42A9CCEA4330}"/>
              </a:ext>
            </a:extLst>
          </p:cNvPr>
          <p:cNvGrpSpPr/>
          <p:nvPr userDrawn="1"/>
        </p:nvGrpSpPr>
        <p:grpSpPr>
          <a:xfrm flipH="1" flipV="1">
            <a:off x="2294710" y="3564133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10800000" scaled="1"/>
          </a:gradFill>
        </p:grpSpPr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F5D1231A-F5BB-D841-9FB5-6B46EB9E4C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04C7B6E6-CFAD-5120-A45D-915F594BB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E0007E3F-6370-6A65-1DFE-FE1CA38FAD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BDCB309E-A643-80AC-2A83-AEB3B1AE2E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2DEEEB6B-C807-25E6-8589-AFE06AA610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6D26B7ED-D694-ED53-4F1B-EB9A59D69E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8ECF6BCE-71B8-06D5-767F-8E57B072A0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90E13CA8-A4B2-5A47-0A13-A565FFD346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1" name="Овал 160">
              <a:extLst>
                <a:ext uri="{FF2B5EF4-FFF2-40B4-BE49-F238E27FC236}">
                  <a16:creationId xmlns:a16="http://schemas.microsoft.com/office/drawing/2014/main" id="{FFBF663D-C7B8-CB94-0214-2199A662F4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2" name="Овал 161">
              <a:extLst>
                <a:ext uri="{FF2B5EF4-FFF2-40B4-BE49-F238E27FC236}">
                  <a16:creationId xmlns:a16="http://schemas.microsoft.com/office/drawing/2014/main" id="{BEC45B11-BB85-4777-599C-76CC4B85A9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3" name="Овал 162">
              <a:extLst>
                <a:ext uri="{FF2B5EF4-FFF2-40B4-BE49-F238E27FC236}">
                  <a16:creationId xmlns:a16="http://schemas.microsoft.com/office/drawing/2014/main" id="{EB123EB1-B3A3-CAA0-0816-29AC79E46F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D40531A6-6A53-1A38-F12D-381453B0DC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5" name="Овал 164">
              <a:extLst>
                <a:ext uri="{FF2B5EF4-FFF2-40B4-BE49-F238E27FC236}">
                  <a16:creationId xmlns:a16="http://schemas.microsoft.com/office/drawing/2014/main" id="{5E956A8A-7CFA-EF7C-4308-9F8393F875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6" name="Овал 165">
              <a:extLst>
                <a:ext uri="{FF2B5EF4-FFF2-40B4-BE49-F238E27FC236}">
                  <a16:creationId xmlns:a16="http://schemas.microsoft.com/office/drawing/2014/main" id="{B2843D30-3B5E-E49E-778F-54F05C4D2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7" name="Овал 166">
              <a:extLst>
                <a:ext uri="{FF2B5EF4-FFF2-40B4-BE49-F238E27FC236}">
                  <a16:creationId xmlns:a16="http://schemas.microsoft.com/office/drawing/2014/main" id="{9787C7EC-CE45-7F52-D344-D144A1AD60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F8A098E9-E1BE-B25A-49CF-DD7840EAA5F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2E07A747-AC2F-69D3-F003-2860222060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0" name="Овал 169">
              <a:extLst>
                <a:ext uri="{FF2B5EF4-FFF2-40B4-BE49-F238E27FC236}">
                  <a16:creationId xmlns:a16="http://schemas.microsoft.com/office/drawing/2014/main" id="{2A7B2AF3-1D71-5D68-47C7-FADEB0CB90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06D55D18-8E2D-5823-CE3F-77CBE96472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84272993-3B9D-8925-7E73-B36635651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3" name="Овал 172">
              <a:extLst>
                <a:ext uri="{FF2B5EF4-FFF2-40B4-BE49-F238E27FC236}">
                  <a16:creationId xmlns:a16="http://schemas.microsoft.com/office/drawing/2014/main" id="{9D7451B7-8719-FC3E-B846-6224676F2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4" name="Овал 173">
              <a:extLst>
                <a:ext uri="{FF2B5EF4-FFF2-40B4-BE49-F238E27FC236}">
                  <a16:creationId xmlns:a16="http://schemas.microsoft.com/office/drawing/2014/main" id="{F2A0A771-BDA3-2825-1887-67A7766FD7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B91EFE05-CC7B-0F42-607D-78E5062AE2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86DBA270-9BB3-3056-FC9D-A2AB2B1456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EB4F466-8BC0-1D95-4D36-D3C852804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476D1E13-32AB-68F9-6805-D3CB50672EA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638B0C34-AF24-EDBC-BDD7-A0770A51CB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B4DEE1AA-5589-294B-DA7F-28AB1415C3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B30AEDB4-E969-3103-4B8F-9B12C21F9E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AE42B1E5-B870-49B3-3362-72CA667709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A0927021-019F-12F2-A406-021149082A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6811DED1-F937-69D9-9075-738D487DDA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6EDE06FD-3B27-7C3D-5613-72CE26933B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A792EEB6-02D1-47D1-1304-5884F104E0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9CBEA3AE-B5E7-FAA0-5CCD-CD9742E29C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8" name="Овал 187">
              <a:extLst>
                <a:ext uri="{FF2B5EF4-FFF2-40B4-BE49-F238E27FC236}">
                  <a16:creationId xmlns:a16="http://schemas.microsoft.com/office/drawing/2014/main" id="{2120291B-BC40-0AF8-DBB8-7DFD660F69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9" name="Овал 188">
              <a:extLst>
                <a:ext uri="{FF2B5EF4-FFF2-40B4-BE49-F238E27FC236}">
                  <a16:creationId xmlns:a16="http://schemas.microsoft.com/office/drawing/2014/main" id="{8EF964D0-BDA9-D850-1352-A2A0C4B6B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E4E77B94-6F90-103E-9000-60E665FCCB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990347CC-2CB7-36B2-B819-C46763E330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EADDBDC5-BF52-6B02-2701-A67D34B4FE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3" name="Овал 192">
              <a:extLst>
                <a:ext uri="{FF2B5EF4-FFF2-40B4-BE49-F238E27FC236}">
                  <a16:creationId xmlns:a16="http://schemas.microsoft.com/office/drawing/2014/main" id="{BDFF22A5-B091-5D58-B131-800111846A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E30BE3BB-9EF4-795A-C8D5-166357C9E5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DC1E7DB4-4721-3CE8-E33F-D00A0133A7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6" name="Овал 195">
              <a:extLst>
                <a:ext uri="{FF2B5EF4-FFF2-40B4-BE49-F238E27FC236}">
                  <a16:creationId xmlns:a16="http://schemas.microsoft.com/office/drawing/2014/main" id="{77C7000E-5236-258F-81B6-6FBEC6CBE2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305820BB-1B9B-005C-434C-1D9EEA745236}"/>
              </a:ext>
            </a:extLst>
          </p:cNvPr>
          <p:cNvSpPr/>
          <p:nvPr userDrawn="1"/>
        </p:nvSpPr>
        <p:spPr>
          <a:xfrm flipH="1" flipV="1">
            <a:off x="2294710" y="3564132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9" name="Рисунок 9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7185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764160A-F2E6-50DB-5360-62FFD9AC9DC3}"/>
              </a:ext>
            </a:extLst>
          </p:cNvPr>
          <p:cNvGrpSpPr/>
          <p:nvPr userDrawn="1"/>
        </p:nvGrpSpPr>
        <p:grpSpPr>
          <a:xfrm>
            <a:off x="60283" y="42994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10800000" scaled="1"/>
          </a:gradFill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BBF0F62A-E05A-93D7-4A8D-1EFC5CA8A7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06F83A7-2D13-35F3-F57C-8D4490D488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9AE3C06-A830-5905-2315-34D57F5C7C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F5E5152F-DEF0-BECF-3AB4-5E8592C77B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8688B9C3-6A72-9A81-E762-2A9E89740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64F77DC-910E-48BE-6E91-E1C501795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78248C7-40B5-4450-5C32-E2C6260C1C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3B157E-EEBC-0E57-1E8E-4115D5DB4E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1DF2A14C-DC2D-DE3A-E9D0-34ED947FB9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79E35C51-B639-00F1-BDA5-1DBB86D67E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83380EE5-C891-E062-C081-C310DE01D5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2194AD4-A47A-ACCC-D641-152C0B22DF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8B24A09-2C22-C4B0-A868-94124F4837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B901A5E-8F7D-15ED-10D2-00179FBB98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D343B0-68FF-5F24-61BF-47FDA1A61C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57CB51AC-CD60-58F1-5DB7-56F3D37E95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BF103B3-7FC4-FD3D-E2B1-18B1AFCDF5D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753695F3-5C86-0FDE-101B-DF205C00DD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52469E-E01E-F426-F6FE-CBB3646921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941D605A-93B0-6A0F-4CB1-350E4976C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4F53D8BD-CA26-BAC6-6A66-334DFC200E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73404FFF-B907-02A5-773D-BC4D5481DD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62420DCB-E964-0112-3BDC-C256CD98AD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D3411E7-260A-6094-BE3C-8CFFEBDB56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3A642E4A-1BCA-D3AB-8342-5B5D8F588C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79D76D3-8B1D-8F30-8112-A0BE34B1B4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C79C33A-93F0-0525-9D23-1C60E4F0711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C837F59-596B-1E81-FC96-23EDF5DFA0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55AA9043-3265-6405-45B3-DF77428D40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5D80C7C-D7E6-7047-D327-C4216B9830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8E49E8E1-3AE0-DBCE-6D64-44DC2DE878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C1895158-DB4E-428C-A944-83C1710AB8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94B5BE7-40C7-1FC2-5F19-A2ECA55269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5A78BFDE-B4D2-944C-1F7F-84FC61D45B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CB8714-94B4-1D9B-7ADF-7236D295A6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5C88824-075F-B365-28E2-F68D972B0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129F004D-0DDD-9F06-EE28-FE549FDA0A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03FC3F36-7E15-4D95-00B3-08C180AAE2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2456464-5AF0-5B3B-6743-18E7F5D4F7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369CA93-3874-27D7-4D33-65FCF0B87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A0A4597-B4E5-FA9B-86E2-C7185AFFDF5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9A883F04-C4CA-9721-6006-74F4C479DE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B357EBFD-2C6D-37DC-60F6-D56B489E1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53581C1D-B119-C72C-0494-7ACB1C0B31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C04A4FE-338B-4B60-98B5-DA6C4570D7AB}"/>
              </a:ext>
            </a:extLst>
          </p:cNvPr>
          <p:cNvSpPr/>
          <p:nvPr userDrawn="1"/>
        </p:nvSpPr>
        <p:spPr>
          <a:xfrm>
            <a:off x="1" y="0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0A5B5BFA-ADFA-A67A-6391-42A9CCEA4330}"/>
              </a:ext>
            </a:extLst>
          </p:cNvPr>
          <p:cNvGrpSpPr/>
          <p:nvPr userDrawn="1"/>
        </p:nvGrpSpPr>
        <p:grpSpPr>
          <a:xfrm flipH="1" flipV="1">
            <a:off x="2294710" y="3564133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10800000" scaled="1"/>
          </a:gradFill>
        </p:grpSpPr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F5D1231A-F5BB-D841-9FB5-6B46EB9E4C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04C7B6E6-CFAD-5120-A45D-915F594BB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E0007E3F-6370-6A65-1DFE-FE1CA38FAD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BDCB309E-A643-80AC-2A83-AEB3B1AE2E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2DEEEB6B-C807-25E6-8589-AFE06AA610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6D26B7ED-D694-ED53-4F1B-EB9A59D69E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8ECF6BCE-71B8-06D5-767F-8E57B072A0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90E13CA8-A4B2-5A47-0A13-A565FFD346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1" name="Овал 160">
              <a:extLst>
                <a:ext uri="{FF2B5EF4-FFF2-40B4-BE49-F238E27FC236}">
                  <a16:creationId xmlns:a16="http://schemas.microsoft.com/office/drawing/2014/main" id="{FFBF663D-C7B8-CB94-0214-2199A662F4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2" name="Овал 161">
              <a:extLst>
                <a:ext uri="{FF2B5EF4-FFF2-40B4-BE49-F238E27FC236}">
                  <a16:creationId xmlns:a16="http://schemas.microsoft.com/office/drawing/2014/main" id="{BEC45B11-BB85-4777-599C-76CC4B85A9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3" name="Овал 162">
              <a:extLst>
                <a:ext uri="{FF2B5EF4-FFF2-40B4-BE49-F238E27FC236}">
                  <a16:creationId xmlns:a16="http://schemas.microsoft.com/office/drawing/2014/main" id="{EB123EB1-B3A3-CAA0-0816-29AC79E46F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D40531A6-6A53-1A38-F12D-381453B0DC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5" name="Овал 164">
              <a:extLst>
                <a:ext uri="{FF2B5EF4-FFF2-40B4-BE49-F238E27FC236}">
                  <a16:creationId xmlns:a16="http://schemas.microsoft.com/office/drawing/2014/main" id="{5E956A8A-7CFA-EF7C-4308-9F8393F875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6" name="Овал 165">
              <a:extLst>
                <a:ext uri="{FF2B5EF4-FFF2-40B4-BE49-F238E27FC236}">
                  <a16:creationId xmlns:a16="http://schemas.microsoft.com/office/drawing/2014/main" id="{B2843D30-3B5E-E49E-778F-54F05C4D2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7" name="Овал 166">
              <a:extLst>
                <a:ext uri="{FF2B5EF4-FFF2-40B4-BE49-F238E27FC236}">
                  <a16:creationId xmlns:a16="http://schemas.microsoft.com/office/drawing/2014/main" id="{9787C7EC-CE45-7F52-D344-D144A1AD60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F8A098E9-E1BE-B25A-49CF-DD7840EAA5F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2E07A747-AC2F-69D3-F003-2860222060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0" name="Овал 169">
              <a:extLst>
                <a:ext uri="{FF2B5EF4-FFF2-40B4-BE49-F238E27FC236}">
                  <a16:creationId xmlns:a16="http://schemas.microsoft.com/office/drawing/2014/main" id="{2A7B2AF3-1D71-5D68-47C7-FADEB0CB90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06D55D18-8E2D-5823-CE3F-77CBE96472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84272993-3B9D-8925-7E73-B36635651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3" name="Овал 172">
              <a:extLst>
                <a:ext uri="{FF2B5EF4-FFF2-40B4-BE49-F238E27FC236}">
                  <a16:creationId xmlns:a16="http://schemas.microsoft.com/office/drawing/2014/main" id="{9D7451B7-8719-FC3E-B846-6224676F2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4" name="Овал 173">
              <a:extLst>
                <a:ext uri="{FF2B5EF4-FFF2-40B4-BE49-F238E27FC236}">
                  <a16:creationId xmlns:a16="http://schemas.microsoft.com/office/drawing/2014/main" id="{F2A0A771-BDA3-2825-1887-67A7766FD7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B91EFE05-CC7B-0F42-607D-78E5062AE2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86DBA270-9BB3-3056-FC9D-A2AB2B1456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EB4F466-8BC0-1D95-4D36-D3C852804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476D1E13-32AB-68F9-6805-D3CB50672EA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638B0C34-AF24-EDBC-BDD7-A0770A51CB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B4DEE1AA-5589-294B-DA7F-28AB1415C3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B30AEDB4-E969-3103-4B8F-9B12C21F9E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AE42B1E5-B870-49B3-3362-72CA667709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A0927021-019F-12F2-A406-021149082A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6811DED1-F937-69D9-9075-738D487DDA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6EDE06FD-3B27-7C3D-5613-72CE26933B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A792EEB6-02D1-47D1-1304-5884F104E0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9CBEA3AE-B5E7-FAA0-5CCD-CD9742E29C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8" name="Овал 187">
              <a:extLst>
                <a:ext uri="{FF2B5EF4-FFF2-40B4-BE49-F238E27FC236}">
                  <a16:creationId xmlns:a16="http://schemas.microsoft.com/office/drawing/2014/main" id="{2120291B-BC40-0AF8-DBB8-7DFD660F69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9" name="Овал 188">
              <a:extLst>
                <a:ext uri="{FF2B5EF4-FFF2-40B4-BE49-F238E27FC236}">
                  <a16:creationId xmlns:a16="http://schemas.microsoft.com/office/drawing/2014/main" id="{8EF964D0-BDA9-D850-1352-A2A0C4B6B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E4E77B94-6F90-103E-9000-60E665FCCB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990347CC-2CB7-36B2-B819-C46763E330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EADDBDC5-BF52-6B02-2701-A67D34B4FE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3" name="Овал 192">
              <a:extLst>
                <a:ext uri="{FF2B5EF4-FFF2-40B4-BE49-F238E27FC236}">
                  <a16:creationId xmlns:a16="http://schemas.microsoft.com/office/drawing/2014/main" id="{BDFF22A5-B091-5D58-B131-800111846A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E30BE3BB-9EF4-795A-C8D5-166357C9E5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DC1E7DB4-4721-3CE8-E33F-D00A0133A7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6" name="Овал 195">
              <a:extLst>
                <a:ext uri="{FF2B5EF4-FFF2-40B4-BE49-F238E27FC236}">
                  <a16:creationId xmlns:a16="http://schemas.microsoft.com/office/drawing/2014/main" id="{77C7000E-5236-258F-81B6-6FBEC6CBE2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305820BB-1B9B-005C-434C-1D9EEA745236}"/>
              </a:ext>
            </a:extLst>
          </p:cNvPr>
          <p:cNvSpPr/>
          <p:nvPr userDrawn="1"/>
        </p:nvSpPr>
        <p:spPr>
          <a:xfrm flipH="1" flipV="1">
            <a:off x="2294710" y="3564132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9" name="Рисунок 9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9167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6D96AF-1991-4AA0-2E23-4777D84B2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536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6D96AF-1991-4AA0-2E23-4777D84B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764160A-F2E6-50DB-5360-62FFD9AC9DC3}"/>
              </a:ext>
            </a:extLst>
          </p:cNvPr>
          <p:cNvGrpSpPr/>
          <p:nvPr userDrawn="1"/>
        </p:nvGrpSpPr>
        <p:grpSpPr>
          <a:xfrm>
            <a:off x="60283" y="42994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4"/>
              </a:gs>
              <a:gs pos="0">
                <a:schemeClr val="accent1"/>
              </a:gs>
            </a:gsLst>
            <a:lin ang="10800000" scaled="1"/>
          </a:gradFill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BBF0F62A-E05A-93D7-4A8D-1EFC5CA8A7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06F83A7-2D13-35F3-F57C-8D4490D488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9AE3C06-A830-5905-2315-34D57F5C7C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F5E5152F-DEF0-BECF-3AB4-5E8592C77B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8688B9C3-6A72-9A81-E762-2A9E89740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64F77DC-910E-48BE-6E91-E1C501795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78248C7-40B5-4450-5C32-E2C6260C1C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3B157E-EEBC-0E57-1E8E-4115D5DB4E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1DF2A14C-DC2D-DE3A-E9D0-34ED947FB9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79E35C51-B639-00F1-BDA5-1DBB86D67E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83380EE5-C891-E062-C081-C310DE01D5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2194AD4-A47A-ACCC-D641-152C0B22DF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8B24A09-2C22-C4B0-A868-94124F4837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B901A5E-8F7D-15ED-10D2-00179FBB98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D343B0-68FF-5F24-61BF-47FDA1A61C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57CB51AC-CD60-58F1-5DB7-56F3D37E95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BF103B3-7FC4-FD3D-E2B1-18B1AFCDF5D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753695F3-5C86-0FDE-101B-DF205C00DD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52469E-E01E-F426-F6FE-CBB3646921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941D605A-93B0-6A0F-4CB1-350E4976C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4F53D8BD-CA26-BAC6-6A66-334DFC200E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73404FFF-B907-02A5-773D-BC4D5481DD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62420DCB-E964-0112-3BDC-C256CD98AD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D3411E7-260A-6094-BE3C-8CFFEBDB56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3A642E4A-1BCA-D3AB-8342-5B5D8F588C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79D76D3-8B1D-8F30-8112-A0BE34B1B4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C79C33A-93F0-0525-9D23-1C60E4F0711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C837F59-596B-1E81-FC96-23EDF5DFA0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55AA9043-3265-6405-45B3-DF77428D40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5D80C7C-D7E6-7047-D327-C4216B9830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8E49E8E1-3AE0-DBCE-6D64-44DC2DE878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C1895158-DB4E-428C-A944-83C1710AB8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94B5BE7-40C7-1FC2-5F19-A2ECA55269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5A78BFDE-B4D2-944C-1F7F-84FC61D45B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CB8714-94B4-1D9B-7ADF-7236D295A6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5C88824-075F-B365-28E2-F68D972B0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129F004D-0DDD-9F06-EE28-FE549FDA0A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03FC3F36-7E15-4D95-00B3-08C180AAE2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2456464-5AF0-5B3B-6743-18E7F5D4F7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369CA93-3874-27D7-4D33-65FCF0B87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A0A4597-B4E5-FA9B-86E2-C7185AFFDF5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9A883F04-C4CA-9721-6006-74F4C479DE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B357EBFD-2C6D-37DC-60F6-D56B489E1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53581C1D-B119-C72C-0494-7ACB1C0B31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C04A4FE-338B-4B60-98B5-DA6C4570D7AB}"/>
              </a:ext>
            </a:extLst>
          </p:cNvPr>
          <p:cNvSpPr/>
          <p:nvPr userDrawn="1"/>
        </p:nvSpPr>
        <p:spPr>
          <a:xfrm>
            <a:off x="1" y="0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0A5B5BFA-ADFA-A67A-6391-42A9CCEA4330}"/>
              </a:ext>
            </a:extLst>
          </p:cNvPr>
          <p:cNvGrpSpPr/>
          <p:nvPr userDrawn="1"/>
        </p:nvGrpSpPr>
        <p:grpSpPr>
          <a:xfrm flipH="1" flipV="1">
            <a:off x="2294710" y="3564133"/>
            <a:ext cx="6789009" cy="1536375"/>
            <a:chOff x="60282" y="42993"/>
            <a:chExt cx="6789009" cy="1536375"/>
          </a:xfrm>
          <a:gradFill>
            <a:gsLst>
              <a:gs pos="100000">
                <a:schemeClr val="accent4"/>
              </a:gs>
              <a:gs pos="0">
                <a:schemeClr val="accent1"/>
              </a:gs>
            </a:gsLst>
            <a:lin ang="10800000" scaled="1"/>
          </a:gradFill>
        </p:grpSpPr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F5D1231A-F5BB-D841-9FB5-6B46EB9E4C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04C7B6E6-CFAD-5120-A45D-915F594BB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E0007E3F-6370-6A65-1DFE-FE1CA38FAD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BDCB309E-A643-80AC-2A83-AEB3B1AE2E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123882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2DEEEB6B-C807-25E6-8589-AFE06AA610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6D26B7ED-D694-ED53-4F1B-EB9A59D69E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8ECF6BCE-71B8-06D5-767F-8E57B072A0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90E13CA8-A4B2-5A47-0A13-A565FFD346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84021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1" name="Овал 160">
              <a:extLst>
                <a:ext uri="{FF2B5EF4-FFF2-40B4-BE49-F238E27FC236}">
                  <a16:creationId xmlns:a16="http://schemas.microsoft.com/office/drawing/2014/main" id="{FFBF663D-C7B8-CB94-0214-2199A662F4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2" name="Овал 161">
              <a:extLst>
                <a:ext uri="{FF2B5EF4-FFF2-40B4-BE49-F238E27FC236}">
                  <a16:creationId xmlns:a16="http://schemas.microsoft.com/office/drawing/2014/main" id="{BEC45B11-BB85-4777-599C-76CC4B85A9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3" name="Овал 162">
              <a:extLst>
                <a:ext uri="{FF2B5EF4-FFF2-40B4-BE49-F238E27FC236}">
                  <a16:creationId xmlns:a16="http://schemas.microsoft.com/office/drawing/2014/main" id="{EB123EB1-B3A3-CAA0-0816-29AC79E46F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D40531A6-6A53-1A38-F12D-381453B0DC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5" name="Овал 164">
              <a:extLst>
                <a:ext uri="{FF2B5EF4-FFF2-40B4-BE49-F238E27FC236}">
                  <a16:creationId xmlns:a16="http://schemas.microsoft.com/office/drawing/2014/main" id="{5E956A8A-7CFA-EF7C-4308-9F8393F875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84021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6" name="Овал 165">
              <a:extLst>
                <a:ext uri="{FF2B5EF4-FFF2-40B4-BE49-F238E27FC236}">
                  <a16:creationId xmlns:a16="http://schemas.microsoft.com/office/drawing/2014/main" id="{B2843D30-3B5E-E49E-778F-54F05C4D2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7" name="Овал 166">
              <a:extLst>
                <a:ext uri="{FF2B5EF4-FFF2-40B4-BE49-F238E27FC236}">
                  <a16:creationId xmlns:a16="http://schemas.microsoft.com/office/drawing/2014/main" id="{9787C7EC-CE45-7F52-D344-D144A1AD60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311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F8A098E9-E1BE-B25A-49CF-DD7840EAA5F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340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2E07A747-AC2F-69D3-F003-2860222060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36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0" name="Овал 169">
              <a:extLst>
                <a:ext uri="{FF2B5EF4-FFF2-40B4-BE49-F238E27FC236}">
                  <a16:creationId xmlns:a16="http://schemas.microsoft.com/office/drawing/2014/main" id="{2A7B2AF3-1D71-5D68-47C7-FADEB0CB90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398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06D55D18-8E2D-5823-CE3F-77CBE96472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5427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84272993-3B9D-8925-7E73-B36635651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8456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3" name="Овал 172">
              <a:extLst>
                <a:ext uri="{FF2B5EF4-FFF2-40B4-BE49-F238E27FC236}">
                  <a16:creationId xmlns:a16="http://schemas.microsoft.com/office/drawing/2014/main" id="{9D7451B7-8719-FC3E-B846-6224676F2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1485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4" name="Овал 173">
              <a:extLst>
                <a:ext uri="{FF2B5EF4-FFF2-40B4-BE49-F238E27FC236}">
                  <a16:creationId xmlns:a16="http://schemas.microsoft.com/office/drawing/2014/main" id="{F2A0A771-BDA3-2825-1887-67A7766FD76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4514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B91EFE05-CC7B-0F42-607D-78E5062AE2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7543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6" name="Овал 175">
              <a:extLst>
                <a:ext uri="{FF2B5EF4-FFF2-40B4-BE49-F238E27FC236}">
                  <a16:creationId xmlns:a16="http://schemas.microsoft.com/office/drawing/2014/main" id="{86DBA270-9BB3-3056-FC9D-A2AB2B1456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90572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7" name="Овал 176">
              <a:extLst>
                <a:ext uri="{FF2B5EF4-FFF2-40B4-BE49-F238E27FC236}">
                  <a16:creationId xmlns:a16="http://schemas.microsoft.com/office/drawing/2014/main" id="{6EB4F466-8BC0-1D95-4D36-D3C852804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3601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476D1E13-32AB-68F9-6805-D3CB50672EA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6630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638B0C34-AF24-EDBC-BDD7-A0770A51CB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9659" y="4299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B4DEE1AA-5589-294B-DA7F-28AB1415C3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0282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B30AEDB4-E969-3103-4B8F-9B12C21F9E7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63215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AE42B1E5-B870-49B3-3362-72CA667709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6148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A0927021-019F-12F2-A406-021149082A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9081" y="44160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6811DED1-F937-69D9-9075-738D487DDA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672014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5" name="Овал 184">
              <a:extLst>
                <a:ext uri="{FF2B5EF4-FFF2-40B4-BE49-F238E27FC236}">
                  <a16:creationId xmlns:a16="http://schemas.microsoft.com/office/drawing/2014/main" id="{6EDE06FD-3B27-7C3D-5613-72CE26933B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074947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A792EEB6-02D1-47D1-1304-5884F104E0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77880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9CBEA3AE-B5E7-FAA0-5CCD-CD9742E29C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80813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8" name="Овал 187">
              <a:extLst>
                <a:ext uri="{FF2B5EF4-FFF2-40B4-BE49-F238E27FC236}">
                  <a16:creationId xmlns:a16="http://schemas.microsoft.com/office/drawing/2014/main" id="{2120291B-BC40-0AF8-DBB8-7DFD660F69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283746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9" name="Овал 188">
              <a:extLst>
                <a:ext uri="{FF2B5EF4-FFF2-40B4-BE49-F238E27FC236}">
                  <a16:creationId xmlns:a16="http://schemas.microsoft.com/office/drawing/2014/main" id="{8EF964D0-BDA9-D850-1352-A2A0C4B6B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6679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E4E77B94-6F90-103E-9000-60E665FCCB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89612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1" name="Овал 190">
              <a:extLst>
                <a:ext uri="{FF2B5EF4-FFF2-40B4-BE49-F238E27FC236}">
                  <a16:creationId xmlns:a16="http://schemas.microsoft.com/office/drawing/2014/main" id="{990347CC-2CB7-36B2-B819-C46763E330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92545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2" name="Овал 191">
              <a:extLst>
                <a:ext uri="{FF2B5EF4-FFF2-40B4-BE49-F238E27FC236}">
                  <a16:creationId xmlns:a16="http://schemas.microsoft.com/office/drawing/2014/main" id="{EADDBDC5-BF52-6B02-2701-A67D34B4FE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895478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3" name="Овал 192">
              <a:extLst>
                <a:ext uri="{FF2B5EF4-FFF2-40B4-BE49-F238E27FC236}">
                  <a16:creationId xmlns:a16="http://schemas.microsoft.com/office/drawing/2014/main" id="{BDFF22A5-B091-5D58-B131-800111846A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8411" y="441603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E30BE3BB-9EF4-795A-C8D5-166357C9E5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702688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DC1E7DB4-4721-3CE8-E33F-D00A0133A7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105717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6" name="Овал 195">
              <a:extLst>
                <a:ext uri="{FF2B5EF4-FFF2-40B4-BE49-F238E27FC236}">
                  <a16:creationId xmlns:a16="http://schemas.microsoft.com/office/drawing/2014/main" id="{77C7000E-5236-258F-81B6-6FBEC6CBE2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08746" y="42994"/>
              <a:ext cx="340545" cy="34054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305820BB-1B9B-005C-434C-1D9EEA745236}"/>
              </a:ext>
            </a:extLst>
          </p:cNvPr>
          <p:cNvSpPr/>
          <p:nvPr userDrawn="1"/>
        </p:nvSpPr>
        <p:spPr>
          <a:xfrm flipH="1" flipV="1">
            <a:off x="2294710" y="3564132"/>
            <a:ext cx="6849291" cy="1579368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invGray">
          <a:xfrm>
            <a:off x="932542" y="1915887"/>
            <a:ext cx="4114800" cy="763732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пасибо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 bwMode="invGray">
          <a:xfrm>
            <a:off x="932540" y="2799511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64588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6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79973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9" name="Рисунок 9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2232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14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49479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5"/>
          <p:cNvSpPr>
            <a:spLocks noGrp="1"/>
          </p:cNvSpPr>
          <p:nvPr>
            <p:ph type="pic" idx="2"/>
          </p:nvPr>
        </p:nvSpPr>
        <p:spPr>
          <a:xfrm>
            <a:off x="0" y="929640"/>
            <a:ext cx="9144000" cy="3292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5235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6"/>
          <p:cNvSpPr>
            <a:spLocks noGrp="1"/>
          </p:cNvSpPr>
          <p:nvPr>
            <p:ph type="pic" idx="2"/>
          </p:nvPr>
        </p:nvSpPr>
        <p:spPr>
          <a:xfrm>
            <a:off x="0" y="0"/>
            <a:ext cx="5064844" cy="51435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1817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">
            <a:extLst>
              <a:ext uri="{FF2B5EF4-FFF2-40B4-BE49-F238E27FC236}">
                <a16:creationId xmlns:a16="http://schemas.microsoft.com/office/drawing/2014/main" id="{47455CC8-DE76-6202-FFD8-93DD52F9CC2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CCB46CF1-64E8-0B5B-B2CA-865B921A69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Segoe UI" panose="020B0502040204020203" pitchFamily="34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E1028D-2359-EE85-3C77-0D297A9FB2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680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3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/>
          <a:srcRect l="6281" t="13888" r="16" b="13990"/>
          <a:stretch/>
        </p:blipFill>
        <p:spPr>
          <a:xfrm>
            <a:off x="0" y="0"/>
            <a:ext cx="6678000" cy="51444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814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8"/>
          <p:cNvSpPr>
            <a:spLocks noGrp="1"/>
          </p:cNvSpPr>
          <p:nvPr>
            <p:ph type="pic" idx="2"/>
          </p:nvPr>
        </p:nvSpPr>
        <p:spPr>
          <a:xfrm>
            <a:off x="6921501" y="1642658"/>
            <a:ext cx="2222500" cy="1858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Google Shape;25;p18"/>
          <p:cNvSpPr>
            <a:spLocks noGrp="1"/>
          </p:cNvSpPr>
          <p:nvPr>
            <p:ph type="pic" idx="3"/>
          </p:nvPr>
        </p:nvSpPr>
        <p:spPr>
          <a:xfrm>
            <a:off x="4572000" y="1642658"/>
            <a:ext cx="2222500" cy="1858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Google Shape;26;p18"/>
          <p:cNvSpPr>
            <a:spLocks noGrp="1"/>
          </p:cNvSpPr>
          <p:nvPr>
            <p:ph type="pic" idx="4"/>
          </p:nvPr>
        </p:nvSpPr>
        <p:spPr>
          <a:xfrm>
            <a:off x="2222500" y="1642658"/>
            <a:ext cx="2222500" cy="1858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1339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7"/>
          <p:cNvSpPr>
            <a:spLocks noGrp="1"/>
          </p:cNvSpPr>
          <p:nvPr>
            <p:ph type="pic" idx="2"/>
          </p:nvPr>
        </p:nvSpPr>
        <p:spPr>
          <a:xfrm>
            <a:off x="0" y="0"/>
            <a:ext cx="4177904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87751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Custom Layout">
  <p:cSld name="38_Custom Layou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9"/>
          <p:cNvSpPr>
            <a:spLocks noGrp="1"/>
          </p:cNvSpPr>
          <p:nvPr>
            <p:ph type="pic" idx="2"/>
          </p:nvPr>
        </p:nvSpPr>
        <p:spPr>
          <a:xfrm>
            <a:off x="6072187" y="500062"/>
            <a:ext cx="2500313" cy="4100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19"/>
          <p:cNvSpPr>
            <a:spLocks noGrp="1"/>
          </p:cNvSpPr>
          <p:nvPr>
            <p:ph type="pic" idx="3"/>
          </p:nvPr>
        </p:nvSpPr>
        <p:spPr>
          <a:xfrm>
            <a:off x="3457575" y="500062"/>
            <a:ext cx="2500313" cy="4100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90269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>
  <p:cSld name="15_Custom Layou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2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5634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5356406" cy="51444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0000"/>
                </a:schemeClr>
              </a:gs>
              <a:gs pos="94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ECDC3F1-5B46-78CF-C17C-10CA6615C1BC}"/>
              </a:ext>
            </a:extLst>
          </p:cNvPr>
          <p:cNvSpPr/>
          <p:nvPr userDrawn="1"/>
        </p:nvSpPr>
        <p:spPr>
          <a:xfrm>
            <a:off x="325119" y="60858"/>
            <a:ext cx="5021786" cy="5021786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13500000" algn="b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6FB14D45-28EE-13AC-5ED0-502B20B5D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Raleway Medium" pitchFamily="2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B49537-E334-1305-2896-FC6C9D35F3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3" y="1507762"/>
            <a:ext cx="4247068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rgbClr val="0596FF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2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5356406" cy="5144400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0000"/>
                </a:schemeClr>
              </a:gs>
              <a:gs pos="94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ECDC3F1-5B46-78CF-C17C-10CA6615C1BC}"/>
              </a:ext>
            </a:extLst>
          </p:cNvPr>
          <p:cNvSpPr/>
          <p:nvPr userDrawn="1"/>
        </p:nvSpPr>
        <p:spPr>
          <a:xfrm>
            <a:off x="325119" y="60858"/>
            <a:ext cx="5021786" cy="5021786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13500000" algn="br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0F95D6E1-776D-C070-F52B-5A8075DBE6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Segoe UI" panose="020B0502040204020203" pitchFamily="34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EE7C6-1F38-7F0E-AFC9-9491A58039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248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3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529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5356406" cy="51444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70000"/>
                </a:schemeClr>
              </a:gs>
              <a:gs pos="94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ECDC3F1-5B46-78CF-C17C-10CA6615C1BC}"/>
              </a:ext>
            </a:extLst>
          </p:cNvPr>
          <p:cNvSpPr/>
          <p:nvPr userDrawn="1"/>
        </p:nvSpPr>
        <p:spPr>
          <a:xfrm>
            <a:off x="325119" y="60858"/>
            <a:ext cx="5021786" cy="5021786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13500000" algn="b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405956A-686F-0C0F-87B3-B77A79546A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804991" y="1507762"/>
            <a:ext cx="4248000" cy="1704242"/>
          </a:xfrm>
        </p:spPr>
        <p:txBody>
          <a:bodyPr lIns="0" tIns="0" rIns="0" bIns="0" anchor="t">
            <a:noAutofit/>
          </a:bodyPr>
          <a:lstStyle>
            <a:lvl1pPr marL="0" indent="0">
              <a:spcAft>
                <a:spcPts val="100"/>
              </a:spcAft>
              <a:buNone/>
              <a:defRPr sz="2800" b="1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spcAft>
                <a:spcPts val="100"/>
              </a:spcAft>
              <a:buNone/>
              <a:defRPr sz="2000">
                <a:solidFill>
                  <a:schemeClr val="accent4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</a:t>
            </a:r>
            <a:br>
              <a:rPr lang="en-US" dirty="0"/>
            </a:br>
            <a:r>
              <a:rPr lang="en-US" dirty="0"/>
              <a:t>Bold </a:t>
            </a:r>
            <a:r>
              <a:rPr lang="ru-RU" dirty="0"/>
              <a:t>28</a:t>
            </a:r>
            <a:r>
              <a:rPr lang="en-US" dirty="0"/>
              <a:t>pt</a:t>
            </a:r>
          </a:p>
          <a:p>
            <a:pPr lvl="1"/>
            <a:r>
              <a:rPr lang="ru-RU" dirty="0"/>
              <a:t>Подзаголовок в</a:t>
            </a:r>
            <a:r>
              <a:rPr lang="en-US" dirty="0"/>
              <a:t> Segoe UI </a:t>
            </a:r>
            <a:br>
              <a:rPr lang="en-US" dirty="0"/>
            </a:br>
            <a:r>
              <a:rPr lang="en-US" dirty="0"/>
              <a:t>Regular </a:t>
            </a:r>
            <a:r>
              <a:rPr lang="ru-RU" dirty="0"/>
              <a:t>20</a:t>
            </a:r>
            <a:r>
              <a:rPr lang="en-US" dirty="0"/>
              <a:t>pt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03D054CC-1642-CFB4-D968-64576CEEB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804993" y="3635740"/>
            <a:ext cx="1524194" cy="218005"/>
          </a:xfrm>
        </p:spPr>
        <p:txBody>
          <a:bodyPr wrap="none"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0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Raleway Medium" pitchFamily="2" charset="0"/>
              </a:defRPr>
            </a:lvl2pPr>
            <a:lvl3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1"/>
            <a:r>
              <a:rPr lang="ru-RU" dirty="0"/>
              <a:t>Дата</a:t>
            </a:r>
            <a:endParaRPr lang="en-US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235062"/>
            <a:ext cx="1696389" cy="4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176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518354-6B10-DC0D-9813-BD4DD6605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382316818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378" imgH="377" progId="TCLayout.ActiveDocument.1">
                  <p:embed/>
                </p:oleObj>
              </mc:Choice>
              <mc:Fallback>
                <p:oleObj name="think-cell Slide" r:id="rId66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518354-6B10-DC0D-9813-BD4DD6605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324000" y="1080000"/>
            <a:ext cx="8496000" cy="3490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Параграф</a:t>
            </a:r>
            <a:r>
              <a:rPr lang="nl-NL" dirty="0"/>
              <a:t> 01 (</a:t>
            </a:r>
            <a:r>
              <a:rPr lang="en-US" dirty="0"/>
              <a:t>Segoe UI Regular</a:t>
            </a:r>
            <a:r>
              <a:rPr lang="nl-NL" dirty="0"/>
              <a:t> 14 pt)</a:t>
            </a:r>
          </a:p>
          <a:p>
            <a:pPr lvl="1"/>
            <a:r>
              <a:rPr lang="ru-RU" dirty="0"/>
              <a:t>Параграф </a:t>
            </a:r>
            <a:r>
              <a:rPr lang="nl-NL" dirty="0"/>
              <a:t>02 (</a:t>
            </a:r>
            <a:r>
              <a:rPr lang="en-US" dirty="0"/>
              <a:t>Segoe UI Regular</a:t>
            </a:r>
            <a:r>
              <a:rPr lang="nl-NL" dirty="0"/>
              <a:t> 12 pt)</a:t>
            </a:r>
          </a:p>
          <a:p>
            <a:pPr lvl="2"/>
            <a:r>
              <a:rPr lang="ru-RU" dirty="0"/>
              <a:t>Параграф </a:t>
            </a:r>
            <a:r>
              <a:rPr lang="nl-NL" dirty="0"/>
              <a:t> 03 (</a:t>
            </a:r>
            <a:r>
              <a:rPr lang="en-US" dirty="0"/>
              <a:t>Segoe UI Regular</a:t>
            </a:r>
            <a:r>
              <a:rPr lang="nl-NL" dirty="0"/>
              <a:t> 11 pt)</a:t>
            </a:r>
          </a:p>
          <a:p>
            <a:pPr lvl="3"/>
            <a:r>
              <a:rPr lang="ru-RU" dirty="0"/>
              <a:t>Параграф </a:t>
            </a:r>
            <a:r>
              <a:rPr lang="en-US" dirty="0"/>
              <a:t>04 (Segoe UI Regular 10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 bwMode="invGray">
          <a:xfrm>
            <a:off x="227661" y="123478"/>
            <a:ext cx="721513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Segoe UI Bold 20pt</a:t>
            </a:r>
            <a:endParaRPr lang="nl-NL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47774D2-FD2E-4756-8A60-568D81BC3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5" y="4733936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Verdana" pitchFamily="34" charset="0"/>
                <a:cs typeface="Segoe UI" panose="020B0502040204020203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6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848" y="221516"/>
            <a:ext cx="1258291" cy="3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6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000" b="1" kern="1200" baseline="0">
          <a:solidFill>
            <a:schemeClr val="tx1"/>
          </a:solidFill>
          <a:latin typeface="Segoe UI" panose="020B0502040204020203" pitchFamily="34" charset="0"/>
          <a:ea typeface="Verdana" pitchFamily="34" charset="0"/>
          <a:cs typeface="Segoe UI" panose="020B0502040204020203" pitchFamily="34" charset="0"/>
        </a:defRPr>
      </a:lvl1pPr>
    </p:titleStyle>
    <p:bodyStyle>
      <a:lvl1pPr marL="164588" indent="-164588" algn="l" defTabSz="914378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Segoe UI" panose="020B0502040204020203" pitchFamily="34" charset="0"/>
          <a:ea typeface="Verdana" pitchFamily="34" charset="0"/>
          <a:cs typeface="Segoe UI" panose="020B0502040204020203" pitchFamily="34" charset="0"/>
        </a:defRPr>
      </a:lvl1pPr>
      <a:lvl2pPr marL="329176" indent="-164588" algn="l" defTabSz="914378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Segoe UI" panose="020B0502040204020203" pitchFamily="34" charset="0"/>
          <a:ea typeface="Verdana" pitchFamily="34" charset="0"/>
          <a:cs typeface="Segoe UI" panose="020B0502040204020203" pitchFamily="34" charset="0"/>
        </a:defRPr>
      </a:lvl2pPr>
      <a:lvl3pPr marL="493764" indent="-164588" algn="l" defTabSz="914378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itchFamily="34" charset="0"/>
        <a:buChar char="•"/>
        <a:defRPr sz="1100" kern="1200">
          <a:solidFill>
            <a:schemeClr val="tx1"/>
          </a:solidFill>
          <a:latin typeface="Segoe UI" panose="020B0502040204020203" pitchFamily="34" charset="0"/>
          <a:ea typeface="Verdana" pitchFamily="34" charset="0"/>
          <a:cs typeface="Segoe UI" panose="020B0502040204020203" pitchFamily="34" charset="0"/>
        </a:defRPr>
      </a:lvl3pPr>
      <a:lvl4pPr marL="658352" indent="-164588" algn="l" defTabSz="914378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Segoe UI" panose="020B0502040204020203" pitchFamily="34" charset="0"/>
          <a:ea typeface="Verdana" pitchFamily="34" charset="0"/>
          <a:cs typeface="Segoe UI" panose="020B0502040204020203" pitchFamily="34" charset="0"/>
        </a:defRPr>
      </a:lvl4pPr>
      <a:lvl5pPr marL="1349966" indent="-269993" algn="l" defTabSz="914378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rgbClr val="FFFFFF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78" userDrawn="1">
          <p15:clr>
            <a:srgbClr val="F26B43"/>
          </p15:clr>
        </p15:guide>
        <p15:guide id="2" pos="5559" userDrawn="1">
          <p15:clr>
            <a:srgbClr val="F26B43"/>
          </p15:clr>
        </p15:guide>
        <p15:guide id="3" orient="horz" pos="2880" userDrawn="1">
          <p15:clr>
            <a:srgbClr val="F26B43"/>
          </p15:clr>
        </p15:guide>
        <p15:guide id="4" pos="2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its.1c.ru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3.jpg"/><Relationship Id="rId5" Type="http://schemas.openxmlformats.org/officeDocument/2006/relationships/hyperlink" Target="https://developer.1c.ru/applications/Console/welcome" TargetMode="External"/><Relationship Id="rId4" Type="http://schemas.openxmlformats.org/officeDocument/2006/relationships/hyperlink" Target="https://edu.1cfresh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1815057-00FE-4365-AE45-250244AE1F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1483" y="1873511"/>
            <a:ext cx="4680000" cy="1704242"/>
          </a:xfrm>
        </p:spPr>
        <p:txBody>
          <a:bodyPr/>
          <a:lstStyle/>
          <a:p>
            <a:r>
              <a:rPr lang="ru-RU" sz="1600" dirty="0">
                <a:latin typeface="+mn-lt"/>
              </a:rPr>
              <a:t>Внедрение и сопровождение автоматизации бизнес-процессов компании </a:t>
            </a:r>
          </a:p>
          <a:p>
            <a:endParaRPr lang="ru-RU" sz="2000" b="0" dirty="0">
              <a:solidFill>
                <a:schemeClr val="accent1"/>
              </a:solidFill>
              <a:latin typeface="+mn-lt"/>
            </a:endParaRPr>
          </a:p>
          <a:p>
            <a:r>
              <a:rPr lang="ru-RU" sz="2000" b="0" dirty="0">
                <a:solidFill>
                  <a:schemeClr val="accent1"/>
                </a:solidFill>
                <a:latin typeface="+mn-lt"/>
              </a:rPr>
              <a:t>ФИО Студента</a:t>
            </a:r>
          </a:p>
          <a:p>
            <a:r>
              <a:rPr lang="ru-RU" sz="2000" b="0" dirty="0">
                <a:solidFill>
                  <a:schemeClr val="accent1"/>
                </a:solidFill>
                <a:latin typeface="+mn-lt"/>
              </a:rPr>
              <a:t>Институт, групп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46E9315-B0A8-4F0C-BA65-BBDA9D426C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1" y="0"/>
            <a:ext cx="1312460" cy="14412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CCCEE6-C7F7-7A28-5B0F-5ECE063CD590}"/>
              </a:ext>
            </a:extLst>
          </p:cNvPr>
          <p:cNvSpPr txBox="1"/>
          <p:nvPr/>
        </p:nvSpPr>
        <p:spPr>
          <a:xfrm>
            <a:off x="1123405" y="225238"/>
            <a:ext cx="58913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ea typeface="Verdana" pitchFamily="34" charset="0"/>
                <a:cs typeface="Segoe UI" panose="020B0502040204020203" pitchFamily="34" charset="0"/>
              </a:rPr>
              <a:t>ДПП ПП «Внедрение и сопровождение информационных систем на базе платформы 1С:Предприятие»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EBCD8E86-72B1-492B-B77A-59CCCCC3C4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2406" y="1998051"/>
            <a:ext cx="4680000" cy="1704242"/>
          </a:xfrm>
        </p:spPr>
        <p:txBody>
          <a:bodyPr/>
          <a:lstStyle/>
          <a:p>
            <a:r>
              <a:rPr lang="ru-RU" dirty="0"/>
              <a:t>Раздел 2: </a:t>
            </a:r>
          </a:p>
          <a:p>
            <a:r>
              <a:rPr lang="ru-RU" dirty="0"/>
              <a:t>отчет по практике</a:t>
            </a:r>
          </a:p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6BFD74A-3B33-462E-9749-BA102A4F24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017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Реестр ошибок полученных от куратора практик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9939963-4351-436F-8B50-0EE32A3378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586931"/>
              </p:ext>
            </p:extLst>
          </p:nvPr>
        </p:nvGraphicFramePr>
        <p:xfrm>
          <a:off x="643467" y="1692973"/>
          <a:ext cx="7708053" cy="341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4188">
                  <a:extLst>
                    <a:ext uri="{9D8B030D-6E8A-4147-A177-3AD203B41FA5}">
                      <a16:colId xmlns:a16="http://schemas.microsoft.com/office/drawing/2014/main" val="3061267804"/>
                    </a:ext>
                  </a:extLst>
                </a:gridCol>
                <a:gridCol w="1991114">
                  <a:extLst>
                    <a:ext uri="{9D8B030D-6E8A-4147-A177-3AD203B41FA5}">
                      <a16:colId xmlns:a16="http://schemas.microsoft.com/office/drawing/2014/main" val="3028991825"/>
                    </a:ext>
                  </a:extLst>
                </a:gridCol>
                <a:gridCol w="1872905">
                  <a:extLst>
                    <a:ext uri="{9D8B030D-6E8A-4147-A177-3AD203B41FA5}">
                      <a16:colId xmlns:a16="http://schemas.microsoft.com/office/drawing/2014/main" val="2466053843"/>
                    </a:ext>
                  </a:extLst>
                </a:gridCol>
                <a:gridCol w="1744923">
                  <a:extLst>
                    <a:ext uri="{9D8B030D-6E8A-4147-A177-3AD203B41FA5}">
                      <a16:colId xmlns:a16="http://schemas.microsoft.com/office/drawing/2014/main" val="3446124905"/>
                    </a:ext>
                  </a:extLst>
                </a:gridCol>
                <a:gridCol w="1744923">
                  <a:extLst>
                    <a:ext uri="{9D8B030D-6E8A-4147-A177-3AD203B41FA5}">
                      <a16:colId xmlns:a16="http://schemas.microsoft.com/office/drawing/2014/main" val="1702644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</a:rPr>
                        <a:t>Наименование ошибк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</a:rPr>
                        <a:t>Описани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ъект метаданных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соб исправлен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89938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1.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6620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700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Ошибка </a:t>
            </a:r>
            <a:r>
              <a:rPr lang="en-US" dirty="0"/>
              <a:t>#</a:t>
            </a:r>
            <a:r>
              <a:rPr lang="ru-RU" dirty="0"/>
              <a:t>1: результаты разработк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sp>
        <p:nvSpPr>
          <p:cNvPr id="6" name="Google Shape;46;p2">
            <a:extLst>
              <a:ext uri="{FF2B5EF4-FFF2-40B4-BE49-F238E27FC236}">
                <a16:creationId xmlns:a16="http://schemas.microsoft.com/office/drawing/2014/main" id="{BC8821C6-3598-40D8-BE8D-A7676A1001E4}"/>
              </a:ext>
            </a:extLst>
          </p:cNvPr>
          <p:cNvSpPr/>
          <p:nvPr/>
        </p:nvSpPr>
        <p:spPr>
          <a:xfrm>
            <a:off x="273374" y="1645284"/>
            <a:ext cx="8597251" cy="1266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 каждой ошибки со слайда 10 на отдельном слайде привести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вести принт-скрин формы с исправлением ошибки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cs typeface="Calibri" panose="020F0502020204030204" pitchFamily="34" charset="0"/>
              </a:rPr>
              <a:t>Привести описание ис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18712650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Ошибка </a:t>
            </a:r>
            <a:r>
              <a:rPr lang="en-US" dirty="0"/>
              <a:t>#</a:t>
            </a:r>
            <a:r>
              <a:rPr lang="ru-RU" dirty="0"/>
              <a:t>1: примеры код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sp>
        <p:nvSpPr>
          <p:cNvPr id="6" name="Google Shape;46;p2">
            <a:extLst>
              <a:ext uri="{FF2B5EF4-FFF2-40B4-BE49-F238E27FC236}">
                <a16:creationId xmlns:a16="http://schemas.microsoft.com/office/drawing/2014/main" id="{BC8821C6-3598-40D8-BE8D-A7676A1001E4}"/>
              </a:ext>
            </a:extLst>
          </p:cNvPr>
          <p:cNvSpPr/>
          <p:nvPr/>
        </p:nvSpPr>
        <p:spPr>
          <a:xfrm>
            <a:off x="273374" y="1645284"/>
            <a:ext cx="8597251" cy="8671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вести пример кода с исправлением (или изменение метаданных)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cs typeface="Calibri" panose="020F0502020204030204" pitchFamily="34" charset="0"/>
              </a:rPr>
              <a:t>Описать логику работы исправления естественным языком</a:t>
            </a:r>
          </a:p>
        </p:txBody>
      </p:sp>
    </p:spTree>
    <p:extLst>
      <p:ext uri="{BB962C8B-B14F-4D97-AF65-F5344CB8AC3E}">
        <p14:creationId xmlns:p14="http://schemas.microsoft.com/office/powerpoint/2010/main" val="1805226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B180487-89D9-4582-9568-C8AF067D7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B803B3F-6D97-4C13-B3AE-C1CA66EDE1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ФИО Студента</a:t>
            </a:r>
          </a:p>
          <a:p>
            <a:r>
              <a:rPr lang="ru-RU" dirty="0"/>
              <a:t>Факультет, группа</a:t>
            </a:r>
          </a:p>
          <a:p>
            <a:r>
              <a:rPr lang="ru-RU" sz="1200" b="0" dirty="0">
                <a:solidFill>
                  <a:schemeClr val="accent1"/>
                </a:solidFill>
              </a:rPr>
              <a:t>Контакты для связи</a:t>
            </a:r>
            <a:endParaRPr lang="en-US" sz="1200" b="0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C5AFB7-1431-499E-AC3F-FA11F1960C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"/>
          <p:cNvSpPr/>
          <p:nvPr/>
        </p:nvSpPr>
        <p:spPr>
          <a:xfrm>
            <a:off x="273374" y="1645284"/>
            <a:ext cx="8597251" cy="2656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дание может быть выполнено на </a:t>
            </a:r>
            <a:r>
              <a:rPr lang="ru-RU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амописной</a:t>
            </a: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конфигурации (конфигурации, разработанной с «0») или любой типовой конфигурации 1С (например: УНФ, УТ, Бухгалтерия и другие) 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сновные материалы для подготовки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Лекции по 1С цифровой кафедры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айт ИТС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https://its.1c.ru/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оступ через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https://edu.1cfresh.com/</a:t>
            </a: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)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айт разработчиков 1С </a:t>
            </a:r>
            <a:r>
              <a:rPr lang="en-US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https://developer.1c.ru/applications/Console/welcome</a:t>
            </a:r>
            <a:endParaRPr lang="ru-RU" sz="18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Порядок выполнения зада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314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EBCD8E86-72B1-492B-B77A-59CCCCC3C4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2406" y="1998051"/>
            <a:ext cx="4680000" cy="1704242"/>
          </a:xfrm>
        </p:spPr>
        <p:txBody>
          <a:bodyPr/>
          <a:lstStyle/>
          <a:p>
            <a:r>
              <a:rPr lang="ru-RU" dirty="0"/>
              <a:t>Раздел 1: </a:t>
            </a:r>
          </a:p>
          <a:p>
            <a:r>
              <a:rPr lang="ru-RU" dirty="0"/>
              <a:t>отчет по практикумам</a:t>
            </a:r>
          </a:p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6BFD74A-3B33-462E-9749-BA102A4F24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484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"/>
          <p:cNvSpPr/>
          <p:nvPr/>
        </p:nvSpPr>
        <p:spPr>
          <a:xfrm>
            <a:off x="273374" y="1645284"/>
            <a:ext cx="8597251" cy="1266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именование АС: 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Цели создания: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жидаемые выгоды от создания АС: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Сводная информация о системе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Реестр автоматизируемых процессо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FB41BFA-BFF4-4A9B-A93E-1605AFEA78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35452"/>
              </p:ext>
            </p:extLst>
          </p:nvPr>
        </p:nvGraphicFramePr>
        <p:xfrm>
          <a:off x="965622" y="1558713"/>
          <a:ext cx="7291070" cy="5211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1131">
                  <a:extLst>
                    <a:ext uri="{9D8B030D-6E8A-4147-A177-3AD203B41FA5}">
                      <a16:colId xmlns:a16="http://schemas.microsoft.com/office/drawing/2014/main" val="432164317"/>
                    </a:ext>
                  </a:extLst>
                </a:gridCol>
                <a:gridCol w="1596482">
                  <a:extLst>
                    <a:ext uri="{9D8B030D-6E8A-4147-A177-3AD203B41FA5}">
                      <a16:colId xmlns:a16="http://schemas.microsoft.com/office/drawing/2014/main" val="2172671733"/>
                    </a:ext>
                  </a:extLst>
                </a:gridCol>
                <a:gridCol w="1320258">
                  <a:extLst>
                    <a:ext uri="{9D8B030D-6E8A-4147-A177-3AD203B41FA5}">
                      <a16:colId xmlns:a16="http://schemas.microsoft.com/office/drawing/2014/main" val="2128533023"/>
                    </a:ext>
                  </a:extLst>
                </a:gridCol>
                <a:gridCol w="1590240">
                  <a:extLst>
                    <a:ext uri="{9D8B030D-6E8A-4147-A177-3AD203B41FA5}">
                      <a16:colId xmlns:a16="http://schemas.microsoft.com/office/drawing/2014/main" val="3839564074"/>
                    </a:ext>
                  </a:extLst>
                </a:gridCol>
                <a:gridCol w="1086170">
                  <a:extLst>
                    <a:ext uri="{9D8B030D-6E8A-4147-A177-3AD203B41FA5}">
                      <a16:colId xmlns:a16="http://schemas.microsoft.com/office/drawing/2014/main" val="353960396"/>
                    </a:ext>
                  </a:extLst>
                </a:gridCol>
                <a:gridCol w="1346789">
                  <a:extLst>
                    <a:ext uri="{9D8B030D-6E8A-4147-A177-3AD203B41FA5}">
                      <a16:colId xmlns:a16="http://schemas.microsoft.com/office/drawing/2014/main" val="5482205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</a:rPr>
                        <a:t>N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Наименование БП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Группа БП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Описани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Связанные требован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Приорите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04909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1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908906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2960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Реестр автоматизируемых требований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9939963-4351-436F-8B50-0EE32A3378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9134359"/>
              </p:ext>
            </p:extLst>
          </p:nvPr>
        </p:nvGraphicFramePr>
        <p:xfrm>
          <a:off x="643467" y="1692973"/>
          <a:ext cx="7708053" cy="341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7830">
                  <a:extLst>
                    <a:ext uri="{9D8B030D-6E8A-4147-A177-3AD203B41FA5}">
                      <a16:colId xmlns:a16="http://schemas.microsoft.com/office/drawing/2014/main" val="3061267804"/>
                    </a:ext>
                  </a:extLst>
                </a:gridCol>
                <a:gridCol w="2573751">
                  <a:extLst>
                    <a:ext uri="{9D8B030D-6E8A-4147-A177-3AD203B41FA5}">
                      <a16:colId xmlns:a16="http://schemas.microsoft.com/office/drawing/2014/main" val="3028991825"/>
                    </a:ext>
                  </a:extLst>
                </a:gridCol>
                <a:gridCol w="3415169">
                  <a:extLst>
                    <a:ext uri="{9D8B030D-6E8A-4147-A177-3AD203B41FA5}">
                      <a16:colId xmlns:a16="http://schemas.microsoft.com/office/drawing/2014/main" val="2466053843"/>
                    </a:ext>
                  </a:extLst>
                </a:gridCol>
                <a:gridCol w="1261303">
                  <a:extLst>
                    <a:ext uri="{9D8B030D-6E8A-4147-A177-3AD203B41FA5}">
                      <a16:colId xmlns:a16="http://schemas.microsoft.com/office/drawing/2014/main" val="34461249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Наименовани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Описани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Приорите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89938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1.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6620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5913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Реестр разработанных функций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9939963-4351-436F-8B50-0EE32A3378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9694653"/>
              </p:ext>
            </p:extLst>
          </p:nvPr>
        </p:nvGraphicFramePr>
        <p:xfrm>
          <a:off x="643467" y="1692973"/>
          <a:ext cx="7708053" cy="5170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4188">
                  <a:extLst>
                    <a:ext uri="{9D8B030D-6E8A-4147-A177-3AD203B41FA5}">
                      <a16:colId xmlns:a16="http://schemas.microsoft.com/office/drawing/2014/main" val="3061267804"/>
                    </a:ext>
                  </a:extLst>
                </a:gridCol>
                <a:gridCol w="1991114">
                  <a:extLst>
                    <a:ext uri="{9D8B030D-6E8A-4147-A177-3AD203B41FA5}">
                      <a16:colId xmlns:a16="http://schemas.microsoft.com/office/drawing/2014/main" val="3028991825"/>
                    </a:ext>
                  </a:extLst>
                </a:gridCol>
                <a:gridCol w="1872905">
                  <a:extLst>
                    <a:ext uri="{9D8B030D-6E8A-4147-A177-3AD203B41FA5}">
                      <a16:colId xmlns:a16="http://schemas.microsoft.com/office/drawing/2014/main" val="2466053843"/>
                    </a:ext>
                  </a:extLst>
                </a:gridCol>
                <a:gridCol w="1744923">
                  <a:extLst>
                    <a:ext uri="{9D8B030D-6E8A-4147-A177-3AD203B41FA5}">
                      <a16:colId xmlns:a16="http://schemas.microsoft.com/office/drawing/2014/main" val="3446124905"/>
                    </a:ext>
                  </a:extLst>
                </a:gridCol>
                <a:gridCol w="1744923">
                  <a:extLst>
                    <a:ext uri="{9D8B030D-6E8A-4147-A177-3AD203B41FA5}">
                      <a16:colId xmlns:a16="http://schemas.microsoft.com/office/drawing/2014/main" val="1702644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</a:rPr>
                        <a:t>Наименование функци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</a:rPr>
                        <a:t>Описани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пользуемый объект метаданных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держиваемые процессы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89938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1.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6620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0711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Функция </a:t>
            </a:r>
            <a:r>
              <a:rPr lang="en-US" dirty="0"/>
              <a:t>#</a:t>
            </a:r>
            <a:r>
              <a:rPr lang="ru-RU" dirty="0"/>
              <a:t>1: результаты разработк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sp>
        <p:nvSpPr>
          <p:cNvPr id="6" name="Google Shape;46;p2">
            <a:extLst>
              <a:ext uri="{FF2B5EF4-FFF2-40B4-BE49-F238E27FC236}">
                <a16:creationId xmlns:a16="http://schemas.microsoft.com/office/drawing/2014/main" id="{BC8821C6-3598-40D8-BE8D-A7676A1001E4}"/>
              </a:ext>
            </a:extLst>
          </p:cNvPr>
          <p:cNvSpPr/>
          <p:nvPr/>
        </p:nvSpPr>
        <p:spPr>
          <a:xfrm>
            <a:off x="273374" y="1645284"/>
            <a:ext cx="8597251" cy="1665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 каждой функции со слайда 6 на отдельном слайде привести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вести принт-скрин формы для выполнения функции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cs typeface="Calibri" panose="020F0502020204030204" pitchFamily="34" charset="0"/>
              </a:rPr>
              <a:t>Привести описание работы функции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cs typeface="Calibri" panose="020F0502020204030204" pitchFamily="34" charset="0"/>
              </a:rPr>
              <a:t>Привести скрин метаданных для поддержки функции</a:t>
            </a:r>
          </a:p>
        </p:txBody>
      </p:sp>
    </p:spTree>
    <p:extLst>
      <p:ext uri="{BB962C8B-B14F-4D97-AF65-F5344CB8AC3E}">
        <p14:creationId xmlns:p14="http://schemas.microsoft.com/office/powerpoint/2010/main" val="32468140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265DC1-F2C0-4C39-A768-C7ACA8E27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453" y="123479"/>
            <a:ext cx="5919048" cy="729376"/>
          </a:xfrm>
        </p:spPr>
        <p:txBody>
          <a:bodyPr/>
          <a:lstStyle/>
          <a:p>
            <a:r>
              <a:rPr lang="ru-RU" dirty="0"/>
              <a:t>Функция </a:t>
            </a:r>
            <a:r>
              <a:rPr lang="en-US" dirty="0"/>
              <a:t>#</a:t>
            </a:r>
            <a:r>
              <a:rPr lang="ru-RU" dirty="0"/>
              <a:t>1: примеры код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A4E253-43B4-45B9-98C8-6DC8C44BE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" y="0"/>
            <a:ext cx="1312460" cy="1441208"/>
          </a:xfrm>
          <a:prstGeom prst="rect">
            <a:avLst/>
          </a:prstGeom>
        </p:spPr>
      </p:pic>
      <p:sp>
        <p:nvSpPr>
          <p:cNvPr id="6" name="Google Shape;46;p2">
            <a:extLst>
              <a:ext uri="{FF2B5EF4-FFF2-40B4-BE49-F238E27FC236}">
                <a16:creationId xmlns:a16="http://schemas.microsoft.com/office/drawing/2014/main" id="{BC8821C6-3598-40D8-BE8D-A7676A1001E4}"/>
              </a:ext>
            </a:extLst>
          </p:cNvPr>
          <p:cNvSpPr/>
          <p:nvPr/>
        </p:nvSpPr>
        <p:spPr>
          <a:xfrm>
            <a:off x="273374" y="1645284"/>
            <a:ext cx="8597251" cy="8671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вести пример кода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ru-RU" sz="1800" i="1" dirty="0">
                <a:latin typeface="Calibri" panose="020F0502020204030204" pitchFamily="34" charset="0"/>
                <a:cs typeface="Calibri" panose="020F0502020204030204" pitchFamily="34" charset="0"/>
              </a:rPr>
              <a:t>Описать логику работы кода естественным языком</a:t>
            </a:r>
          </a:p>
        </p:txBody>
      </p:sp>
    </p:spTree>
    <p:extLst>
      <p:ext uri="{BB962C8B-B14F-4D97-AF65-F5344CB8AC3E}">
        <p14:creationId xmlns:p14="http://schemas.microsoft.com/office/powerpoint/2010/main" val="3679929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oup_External_Dark">
  <a:themeElements>
    <a:clrScheme name="AUXO">
      <a:dk1>
        <a:srgbClr val="0F0F0F"/>
      </a:dk1>
      <a:lt1>
        <a:sysClr val="window" lastClr="FFFFFF"/>
      </a:lt1>
      <a:dk2>
        <a:srgbClr val="0F0F0F"/>
      </a:dk2>
      <a:lt2>
        <a:srgbClr val="FFFFFF"/>
      </a:lt2>
      <a:accent1>
        <a:srgbClr val="0596FF"/>
      </a:accent1>
      <a:accent2>
        <a:srgbClr val="A375FF"/>
      </a:accent2>
      <a:accent3>
        <a:srgbClr val="D40564"/>
      </a:accent3>
      <a:accent4>
        <a:srgbClr val="EF3920"/>
      </a:accent4>
      <a:accent5>
        <a:srgbClr val="0027B8"/>
      </a:accent5>
      <a:accent6>
        <a:srgbClr val="2B2B2B"/>
      </a:accent6>
      <a:hlink>
        <a:srgbClr val="0596FF"/>
      </a:hlink>
      <a:folHlink>
        <a:srgbClr val="68C0FF"/>
      </a:folHlink>
    </a:clrScheme>
    <a:fontScheme name="AUXO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defRPr sz="2800" b="1" dirty="0"/>
        </a:defPPr>
      </a:lstStyle>
    </a:txDef>
  </a:objectDefaults>
  <a:extraClrSchemeLst/>
  <a:custClrLst>
    <a:custClr name="Atos Blue">
      <a:srgbClr val="0596FF"/>
    </a:custClr>
    <a:custClr name="Atos Purple">
      <a:srgbClr val="A375FF"/>
    </a:custClr>
    <a:custClr name="Atos Red">
      <a:srgbClr val="FF5269"/>
    </a:custClr>
    <a:custClr name="Atos Green">
      <a:srgbClr val="00A39B"/>
    </a:custClr>
    <a:custClr name="Atos Yellow">
      <a:srgbClr val="B88D00"/>
    </a:custClr>
    <a:custClr name="Atos Grey">
      <a:srgbClr val="2B2B2B"/>
    </a:custClr>
  </a:custClrLst>
  <a:extLst>
    <a:ext uri="{05A4C25C-085E-4340-85A3-A5531E510DB2}">
      <thm15:themeFamily xmlns:thm15="http://schemas.microsoft.com/office/thememl/2012/main" name="Atos Group Template_External_Dark &amp; Light.potx" id="{96BFEC70-3AAB-460B-AAC1-CAFE662EA9CF}" vid="{1834A698-E992-4121-A499-73D79DB85AE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79E3EC02D9505459664ED66717FA35F" ma:contentTypeVersion="2" ma:contentTypeDescription="Создание документа." ma:contentTypeScope="" ma:versionID="36cdf54c9454c337333357a2feb1c773">
  <xsd:schema xmlns:xsd="http://www.w3.org/2001/XMLSchema" xmlns:xs="http://www.w3.org/2001/XMLSchema" xmlns:p="http://schemas.microsoft.com/office/2006/metadata/properties" xmlns:ns2="e7a0605e-f109-409a-9e48-428afc6493d4" targetNamespace="http://schemas.microsoft.com/office/2006/metadata/properties" ma:root="true" ma:fieldsID="07cef11c6698e529ff2958d4c24131e3" ns2:_="">
    <xsd:import namespace="e7a0605e-f109-409a-9e48-428afc6493d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a0605e-f109-409a-9e48-428afc6493d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04636D1D-B11A-4F9C-8791-FFAFBF3917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a0605e-f109-409a-9e48-428afc6493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5F96CA0-5BF7-4DDB-A9EB-1660DD0319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53B2A2-4745-4AD0-91D4-C04650CF4AE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97500EE7-C375-4FDD-93AC-07C006E1897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3</TotalTime>
  <Words>298</Words>
  <Application>Microsoft Office PowerPoint</Application>
  <PresentationFormat>Экран (16:9)</PresentationFormat>
  <Paragraphs>67</Paragraphs>
  <Slides>14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Calibri</vt:lpstr>
      <vt:lpstr>Lucida Sans Unicode</vt:lpstr>
      <vt:lpstr>Raleway Light</vt:lpstr>
      <vt:lpstr>Raleway Medium</vt:lpstr>
      <vt:lpstr>Segoe UI</vt:lpstr>
      <vt:lpstr>Verdana</vt:lpstr>
      <vt:lpstr>Group_External_Dark</vt:lpstr>
      <vt:lpstr>think-cell Slide</vt:lpstr>
      <vt:lpstr>Презентация PowerPoint</vt:lpstr>
      <vt:lpstr>Порядок выполнения задания</vt:lpstr>
      <vt:lpstr>Презентация PowerPoint</vt:lpstr>
      <vt:lpstr>Сводная информация о системе</vt:lpstr>
      <vt:lpstr>Реестр автоматизируемых процессов</vt:lpstr>
      <vt:lpstr>Реестр автоматизируемых требований</vt:lpstr>
      <vt:lpstr>Реестр разработанных функций</vt:lpstr>
      <vt:lpstr>Функция #1: результаты разработки</vt:lpstr>
      <vt:lpstr>Функция #1: примеры кода</vt:lpstr>
      <vt:lpstr>Презентация PowerPoint</vt:lpstr>
      <vt:lpstr>Реестр ошибок полученных от куратора практики</vt:lpstr>
      <vt:lpstr>Ошибка #1: результаты разработки</vt:lpstr>
      <vt:lpstr>Ошибка #1: примеры кода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Yuliya Simonova (ext)</dc:creator>
  <cp:lastModifiedBy>egor</cp:lastModifiedBy>
  <cp:revision>86</cp:revision>
  <dcterms:created xsi:type="dcterms:W3CDTF">2022-11-28T10:30:46Z</dcterms:created>
  <dcterms:modified xsi:type="dcterms:W3CDTF">2025-06-15T09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463cba9-5f6c-478d-9329-7b2295e4e8ed_Enabled">
    <vt:lpwstr>true</vt:lpwstr>
  </property>
  <property fmtid="{D5CDD505-2E9C-101B-9397-08002B2CF9AE}" pid="3" name="MSIP_Label_e463cba9-5f6c-478d-9329-7b2295e4e8ed_SetDate">
    <vt:lpwstr>2022-11-28T10:30:46Z</vt:lpwstr>
  </property>
  <property fmtid="{D5CDD505-2E9C-101B-9397-08002B2CF9AE}" pid="4" name="MSIP_Label_e463cba9-5f6c-478d-9329-7b2295e4e8ed_Method">
    <vt:lpwstr>Standard</vt:lpwstr>
  </property>
  <property fmtid="{D5CDD505-2E9C-101B-9397-08002B2CF9AE}" pid="5" name="MSIP_Label_e463cba9-5f6c-478d-9329-7b2295e4e8ed_Name">
    <vt:lpwstr>All Employees_2</vt:lpwstr>
  </property>
  <property fmtid="{D5CDD505-2E9C-101B-9397-08002B2CF9AE}" pid="6" name="MSIP_Label_e463cba9-5f6c-478d-9329-7b2295e4e8ed_SiteId">
    <vt:lpwstr>33440fc6-b7c7-412c-bb73-0e70b0198d5a</vt:lpwstr>
  </property>
  <property fmtid="{D5CDD505-2E9C-101B-9397-08002B2CF9AE}" pid="7" name="MSIP_Label_e463cba9-5f6c-478d-9329-7b2295e4e8ed_ActionId">
    <vt:lpwstr>ef4dab7c-d23f-4c35-b9af-30ac494bf2ec</vt:lpwstr>
  </property>
  <property fmtid="{D5CDD505-2E9C-101B-9397-08002B2CF9AE}" pid="8" name="MSIP_Label_e463cba9-5f6c-478d-9329-7b2295e4e8ed_ContentBits">
    <vt:lpwstr>0</vt:lpwstr>
  </property>
  <property fmtid="{D5CDD505-2E9C-101B-9397-08002B2CF9AE}" pid="9" name="ContentTypeId">
    <vt:lpwstr>0x010100A79E3EC02D9505459664ED66717FA35F</vt:lpwstr>
  </property>
</Properties>
</file>